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</p:sldMasterIdLst>
  <p:notesMasterIdLst>
    <p:notesMasterId r:id="rId13"/>
  </p:notesMasterIdLst>
  <p:sldIdLst>
    <p:sldId id="256" r:id="rId4"/>
    <p:sldId id="276" r:id="rId5"/>
    <p:sldId id="307" r:id="rId6"/>
    <p:sldId id="308" r:id="rId7"/>
    <p:sldId id="278" r:id="rId8"/>
    <p:sldId id="309" r:id="rId9"/>
    <p:sldId id="284" r:id="rId10"/>
    <p:sldId id="288" r:id="rId11"/>
    <p:sldId id="277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9467A"/>
    <a:srgbClr val="B16FBF"/>
    <a:srgbClr val="CA7ACA"/>
    <a:srgbClr val="D07DBC"/>
    <a:srgbClr val="D17DBB"/>
    <a:srgbClr val="D07DBD"/>
    <a:srgbClr val="DB81A4"/>
    <a:srgbClr val="123E7B"/>
    <a:srgbClr val="F5F5F5"/>
    <a:srgbClr val="DC81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04" autoAdjust="0"/>
    <p:restoredTop sz="82999" autoAdjust="0"/>
  </p:normalViewPr>
  <p:slideViewPr>
    <p:cSldViewPr snapToGrid="0">
      <p:cViewPr varScale="1">
        <p:scale>
          <a:sx n="71" d="100"/>
          <a:sy n="71" d="100"/>
        </p:scale>
        <p:origin x="112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CD5A89-F0B5-4C38-A83B-BD85BD7B2E3C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936016-4829-455F-A05C-AC2B9480F7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7875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936016-4829-455F-A05C-AC2B9480F7F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240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CE837E-594B-4F0F-92F5-F20D4296AC5C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4943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D51350-2CC3-43EA-B9C1-9D30B83C24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5632B2B-9E6A-4AE2-A37E-79BAF9E90C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828C8A-F227-4B1B-9544-CC30A9AF8D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DF4A2-CD2B-47CD-8202-66C5248AA9D3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7ED528-33EF-4869-B6F8-8B9EF4B569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8A789B-E50C-4CFC-90E6-57C00AC6D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D342FC-90DC-4B42-9EEC-809E2F601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3598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318720-6A94-4C56-A59E-089B0F66E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7833D7-0CF1-4AEB-B2AA-46FFBED39F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7BD7ED-EA71-43AA-9BB4-22B7A90811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DF4A2-CD2B-47CD-8202-66C5248AA9D3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F01340-6D1C-447A-955D-BFC68A1EA1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F583EB-3DFC-4CEC-92E5-0BC3583F19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D342FC-90DC-4B42-9EEC-809E2F601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6660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A3F7BAC-0563-4DAD-A883-EB5E31176E8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10268AA-8397-4D70-A841-7AC91E67E0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F70105-5398-4920-A8E5-4A188D5C18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DF4A2-CD2B-47CD-8202-66C5248AA9D3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736EF1-26D5-4413-A9BE-B8DA3D27A5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B9D585-F49C-4090-A6D4-EB1773E92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D342FC-90DC-4B42-9EEC-809E2F601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6311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8A86F-EC00-46CA-96EE-FD4225150B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4CEE9F-789A-4521-8868-1FF0A82486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29676F-1F52-414A-871B-8490CBCCA8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6625D-0372-4564-8F2D-2B4020413F40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51C31F-E25C-4394-86CB-15E6C2CAB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DCDA01-97F2-40A6-9620-A3A5D798D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E5E57-0193-45F1-AA6D-ABE38BBADB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4013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8859C-E8FF-4ADE-B1BB-C8FB2CFA3D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F339DA-2A10-43AB-9323-242D0CB76C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6BFD4B-E7DD-4AC0-831B-13887BD988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6625D-0372-4564-8F2D-2B4020413F40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8EDA7D-1A9E-4914-B8E4-92C3B58A0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D34B7E-6445-4DAE-B97C-32D39C074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E5E57-0193-45F1-AA6D-ABE38BBADB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32300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3EE7F8-77F3-43EC-A30B-EB8FAB3E2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C63B27-6122-4D12-82D5-DA07FC58DF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C2B296-EB69-46B1-84B8-1EAAE1CE55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6625D-0372-4564-8F2D-2B4020413F40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DADE76-2231-41B7-8A57-23AD238485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F451AE-847D-461C-B940-22E8D724A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E5E57-0193-45F1-AA6D-ABE38BBADB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1663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1F1E74-18A5-46A5-A046-FE063C66F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47D94-3A6B-4C68-8D92-6C18A51BB01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0FD9CE-CA42-4052-A891-E21E6E5523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073AA8-1990-41B1-B353-28F18BBBF7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6625D-0372-4564-8F2D-2B4020413F40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458BFB-1A53-4FC7-9355-15F5B2CDB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E1C9F0-2EE5-4A9D-A07C-85299A211C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E5E57-0193-45F1-AA6D-ABE38BBADB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2815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9D66E5-87A3-4CAF-B3AF-73C7DF639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A60785-A227-427B-B336-BA50E15EB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702B63-1FB8-4E30-8C28-36077E31E9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754F6B-3897-4C9A-9B33-B914406469A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122723E-A884-47B0-B9F0-0CCEC35DF3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EC39C2-C260-42E4-9ED4-5A2C5317E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6625D-0372-4564-8F2D-2B4020413F40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A4B5C8D-7B2B-48DC-8667-57484B825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4CD44B-5E8F-4307-B3E8-D21D9F1568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E5E57-0193-45F1-AA6D-ABE38BBADB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0734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9B8565-5774-41A6-8340-0503AA09D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9D0D1F-D572-4904-B1F3-CD711F28BA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6625D-0372-4564-8F2D-2B4020413F40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C5A22A-BA80-4B4F-AD8A-F7377BE67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BF9AD6-CB48-47E7-9163-F53148A6F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E5E57-0193-45F1-AA6D-ABE38BBADB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1960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363A9F-260C-4294-90DA-CB639DDBE9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6625D-0372-4564-8F2D-2B4020413F40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1B24B7-B41C-4CBB-9BCC-891FC540A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1B0BFC-4EA2-4A85-95A4-5933E71883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E5E57-0193-45F1-AA6D-ABE38BBADB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396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41D7F3-94B3-41FD-AC4C-4468ED0FC2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76766C-CD60-4C29-94CF-0D8CDC7D9E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672B6F-F375-4BDF-8FF8-FD7E227C74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E2BA85-ADF1-4747-B0C0-76353F0A6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6625D-0372-4564-8F2D-2B4020413F40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1D7E06-BD21-4B3E-A137-EFE198FED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46929C-D76B-49E7-A531-460ACC842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E5E57-0193-45F1-AA6D-ABE38BBADB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96003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CD4282-92C3-4E5C-A6BB-16F3F4F8A5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DCB5F9-D606-4383-8877-9C7BCECFAD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673E2C-FDB6-4048-89D6-28687C6DA2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DF4A2-CD2B-47CD-8202-66C5248AA9D3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714930-17CB-4982-9E1D-6C219FA39C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4F9738-B024-40B8-BEBB-9BFEF12DD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D342FC-90DC-4B42-9EEC-809E2F601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0926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F232A-FAAF-4A3E-8CA4-5EE96C4DEB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7389F9-8216-4830-92CB-C6BDC4700F5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12D1A3-F447-4A0A-BD89-9D6D0458CA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B3C963-C9AC-48CF-B5F3-347ECA7787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6625D-0372-4564-8F2D-2B4020413F40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902C9F-3234-4B30-8ADB-24F0A387B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0EC7DC-A3CB-47D4-9091-9C74C22C20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E5E57-0193-45F1-AA6D-ABE38BBADB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6799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D00127-036C-4CB5-9911-DD9C28B36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583947-F3A6-418D-96F2-8FD75C5563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DE3E06-6B2C-449F-B8E7-59372FD370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6625D-0372-4564-8F2D-2B4020413F40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F50D57-E808-450B-BDD2-232A18F1B1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58099E-E98B-40C4-974B-1E9964CC68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E5E57-0193-45F1-AA6D-ABE38BBADB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3275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180A537-25A5-4B5B-9281-D33E2ABFE1F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8F8FDE-E5FE-4668-A121-9AD9212B34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EF3055-DD70-42C1-AF7D-E08C0794C1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6625D-0372-4564-8F2D-2B4020413F40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0E3C89-587A-4A10-BE2A-AED45D7356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E7881F-6BC7-40FD-B30F-C68110624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E5E57-0193-45F1-AA6D-ABE38BBADB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64964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432276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CE41B2DE-F156-2D40-9010-D80F327790C8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911A7C-798D-A349-BE1E-08E7E52FFB57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DF70D0A-AB5F-444C-BF1D-65B5142DE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6134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0320055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68485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6F01A71-F66D-694C-B907-43A71B0F25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9B7F43E-7050-6E4F-9A47-30D7D9C88CA3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D0DDCB9-3ED5-C943-88DC-A6440242BFEE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79239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7E1D7A41-994A-154D-8EDD-F11D3DA0D3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D70CC5AA-64D3-944B-8FA1-1A4F18789510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DDD7FA6-04FF-FE4A-946E-9DBACC5D9B53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21664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CE3E775-DAD6-F640-BFA3-0793C1F4F5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A6E8814D-B5A4-3246-AC82-2333236B0A72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1CDD60-2482-0746-86CD-C026A633DD3F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14782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08CC2BF2-EB35-E64C-B84E-27A3DA4A54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8F7D1F8C-1B28-504A-9214-C554AAB909ED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C3AD71-B010-A64D-B0DC-FFED2B7DB0C9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26861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17BAC7-DC2E-42E1-93E3-344F5A97C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47F605-9310-4F47-8311-22DE81AD0E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9D3355-5AD8-4BAE-A12F-BF86449190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DF4A2-CD2B-47CD-8202-66C5248AA9D3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C992B6-CDA4-482E-992E-C89794B2E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EE7F3A-B5D9-4AFA-B177-14F61CC795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D342FC-90DC-4B42-9EEC-809E2F601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2935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54177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EC51978-4FA5-094C-896B-C0CC8A550C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6AFF42F-1633-E54C-A259-2311F4F8FAFA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7FC991-7B7D-F547-B315-DF86E05EA78D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57503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A68E03FE-845E-5F4D-9331-2A5BB58EB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69DEF144-7013-3047-9A9C-C05FDB985708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C46F20-05D2-A24A-8532-1A3A12993974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18912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5058BB2-16B2-1545-A429-B445E3FD2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E886E2E0-6448-064D-A76B-D9D46B46CA27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862385-4337-0E48-B14B-B360DB3EA61B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69297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CD733E3-5C88-094D-AD58-1EE68BC4D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FB0F361F-08A6-7441-815D-16CB51D226D4}"/>
              </a:ext>
            </a:extLst>
          </p:cNvPr>
          <p:cNvSpPr/>
          <p:nvPr userDrawn="1"/>
        </p:nvSpPr>
        <p:spPr>
          <a:xfrm>
            <a:off x="11275536" y="6557505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D6392BF-55A4-924D-8847-806287D50CF9}"/>
              </a:ext>
            </a:extLst>
          </p:cNvPr>
          <p:cNvSpPr txBox="1"/>
          <p:nvPr userDrawn="1"/>
        </p:nvSpPr>
        <p:spPr>
          <a:xfrm>
            <a:off x="11303045" y="6576134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40817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95A75B-64D8-4B0F-96BE-483AE3AC2A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BB4A1A-A166-4FAF-A3F9-B6FE0664B4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D0DCC56-E206-42D9-BFFE-E1908C9DE9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480AA2-994F-438E-8178-1702508898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DF4A2-CD2B-47CD-8202-66C5248AA9D3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949FE3-CB26-4F54-B587-A2233DAB3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8C5597-DD83-49B3-91EE-53609AFB6F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D342FC-90DC-4B42-9EEC-809E2F601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1617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D306D2-BC85-424E-9A24-044BE9308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3121F3-CEB0-46AF-9D39-1484533DE6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C24D10-281F-496D-B919-0CB31571DC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405429-8628-4370-82C1-3FA2EB01701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092B75C-3251-4498-8B4B-939998F266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89B16DF-61CB-476A-9A9F-35359617E9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DF4A2-CD2B-47CD-8202-66C5248AA9D3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784E1F-3AA9-42FA-A292-5D02EB7268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F3F4D6B-69BB-474E-9F70-2DDD1946D8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D342FC-90DC-4B42-9EEC-809E2F601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4757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03FD3F-08C0-4E1E-B25D-208E44DDD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71FA5E-83E6-4D81-981B-FC054BDCF8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DF4A2-CD2B-47CD-8202-66C5248AA9D3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3CFD1B-4004-4E2E-B5AB-22C9138301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CFF14A-8770-4F68-84B2-D6D2DF2136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D342FC-90DC-4B42-9EEC-809E2F601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494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6B98FC-D26B-45D6-A45B-E6A412E7B9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DF4A2-CD2B-47CD-8202-66C5248AA9D3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C633C5-6879-435D-9A80-8192E446E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72CBF3-E009-43C0-B883-2EDABD78B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D342FC-90DC-4B42-9EEC-809E2F601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9247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73C07E-9C9A-4FEC-8227-1F17321490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9904-1033-4289-83AB-68FCB3AC33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A9376A-98D2-43C8-8E26-4585EE1F0A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DC3A6F-D9E0-4B01-B09F-642B5CF7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DF4A2-CD2B-47CD-8202-66C5248AA9D3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F0411B-E0A9-4327-8727-7288C78DE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DDD546-93D2-43D8-A3A6-47800CA908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D342FC-90DC-4B42-9EEC-809E2F601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143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B7868E-027D-4267-B333-27B5615FF4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328B54A-1CF8-4BFE-9FF2-FF3D15B9359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1D30A5-D3E3-4F80-8570-0D9BD005B7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BA6700-872D-471C-9DAF-56F8A5CD5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DF4A2-CD2B-47CD-8202-66C5248AA9D3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AA9BA6-699F-44AF-8CCA-BAD2300FCE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C12D12-3E36-4F8F-8D73-A30950FA4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D342FC-90DC-4B42-9EEC-809E2F601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080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3EA1E7-58DC-454D-BF11-48FEDCB3A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DA504-2119-42BB-AC7B-F57A2FD4B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5D005E-059F-4E68-BB4F-443109744B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8DF4A2-CD2B-47CD-8202-66C5248AA9D3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3DDDF0-3CA4-4634-BD4E-32EADD9454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D2B981-558E-4CC6-B7FB-16759CB0E7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D342FC-90DC-4B42-9EEC-809E2F601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759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8C37481-8B09-423E-8106-CE47240A9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B38118-3F4E-4ECE-9519-348816AED6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703D80-8B85-4560-A6EA-536F5F75E3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16625D-0372-4564-8F2D-2B4020413F40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AA14D9-F782-4BE9-94F1-EA9967B057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349A7A-8A14-4E04-9F9B-CEC9F7D92C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5E5E57-0193-45F1-AA6D-ABE38BBADB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152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40C9856-B1FB-4963-966C-95E55C227A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31844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40C9856-B1FB-4963-966C-95E55C227A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9B67F8E-433C-40F5-BD46-E12266BFC7E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509529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Rectangle 214">
            <a:extLst>
              <a:ext uri="{FF2B5EF4-FFF2-40B4-BE49-F238E27FC236}">
                <a16:creationId xmlns:a16="http://schemas.microsoft.com/office/drawing/2014/main" id="{596E9FD6-FA4E-472E-84F6-5A878D0F45EE}"/>
              </a:ext>
            </a:extLst>
          </p:cNvPr>
          <p:cNvSpPr/>
          <p:nvPr/>
        </p:nvSpPr>
        <p:spPr>
          <a:xfrm>
            <a:off x="0" y="0"/>
            <a:ext cx="12188756" cy="6934494"/>
          </a:xfrm>
          <a:prstGeom prst="rect">
            <a:avLst/>
          </a:prstGeom>
          <a:solidFill>
            <a:srgbClr val="F5F5F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Freeform 222">
            <a:extLst>
              <a:ext uri="{FF2B5EF4-FFF2-40B4-BE49-F238E27FC236}">
                <a16:creationId xmlns:a16="http://schemas.microsoft.com/office/drawing/2014/main" id="{BBDFF4E6-3731-4E38-8079-F466B9CC8936}"/>
              </a:ext>
            </a:extLst>
          </p:cNvPr>
          <p:cNvSpPr/>
          <p:nvPr/>
        </p:nvSpPr>
        <p:spPr>
          <a:xfrm rot="2700000">
            <a:off x="2096136" y="5045401"/>
            <a:ext cx="3783578" cy="3242829"/>
          </a:xfrm>
          <a:custGeom>
            <a:avLst/>
            <a:gdLst>
              <a:gd name="connsiteX0" fmla="*/ 225490 w 3783578"/>
              <a:gd name="connsiteY0" fmla="*/ 225490 h 3242829"/>
              <a:gd name="connsiteX1" fmla="*/ 769871 w 3783578"/>
              <a:gd name="connsiteY1" fmla="*/ 0 h 3242829"/>
              <a:gd name="connsiteX2" fmla="*/ 3783578 w 3783578"/>
              <a:gd name="connsiteY2" fmla="*/ 0 h 3242829"/>
              <a:gd name="connsiteX3" fmla="*/ 540749 w 3783578"/>
              <a:gd name="connsiteY3" fmla="*/ 3242829 h 3242829"/>
              <a:gd name="connsiteX4" fmla="*/ 0 w 3783578"/>
              <a:gd name="connsiteY4" fmla="*/ 2702079 h 3242829"/>
              <a:gd name="connsiteX5" fmla="*/ 0 w 3783578"/>
              <a:gd name="connsiteY5" fmla="*/ 769871 h 3242829"/>
              <a:gd name="connsiteX6" fmla="*/ 225490 w 3783578"/>
              <a:gd name="connsiteY6" fmla="*/ 225490 h 3242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83578" h="3242829">
                <a:moveTo>
                  <a:pt x="225490" y="225490"/>
                </a:moveTo>
                <a:cubicBezTo>
                  <a:pt x="364809" y="86170"/>
                  <a:pt x="557278" y="0"/>
                  <a:pt x="769871" y="0"/>
                </a:cubicBezTo>
                <a:lnTo>
                  <a:pt x="3783578" y="0"/>
                </a:lnTo>
                <a:lnTo>
                  <a:pt x="540749" y="3242829"/>
                </a:lnTo>
                <a:lnTo>
                  <a:pt x="0" y="2702079"/>
                </a:lnTo>
                <a:lnTo>
                  <a:pt x="0" y="769871"/>
                </a:lnTo>
                <a:cubicBezTo>
                  <a:pt x="0" y="557277"/>
                  <a:pt x="86172" y="364810"/>
                  <a:pt x="225490" y="225490"/>
                </a:cubicBezTo>
                <a:close/>
              </a:path>
            </a:pathLst>
          </a:custGeom>
          <a:solidFill>
            <a:srgbClr val="E0839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reeform 223">
            <a:extLst>
              <a:ext uri="{FF2B5EF4-FFF2-40B4-BE49-F238E27FC236}">
                <a16:creationId xmlns:a16="http://schemas.microsoft.com/office/drawing/2014/main" id="{212176B7-0F8A-4725-9027-440463C0B094}"/>
              </a:ext>
            </a:extLst>
          </p:cNvPr>
          <p:cNvSpPr/>
          <p:nvPr/>
        </p:nvSpPr>
        <p:spPr>
          <a:xfrm rot="2700000">
            <a:off x="-1738343" y="3523209"/>
            <a:ext cx="4619134" cy="3907698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rgbClr val="EAD65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2" name="Title 1">
            <a:extLst>
              <a:ext uri="{FF2B5EF4-FFF2-40B4-BE49-F238E27FC236}">
                <a16:creationId xmlns:a16="http://schemas.microsoft.com/office/drawing/2014/main" id="{A3E8105F-0238-4F13-8A4F-8DE4E55EF2EC}"/>
              </a:ext>
            </a:extLst>
          </p:cNvPr>
          <p:cNvSpPr txBox="1">
            <a:spLocks/>
          </p:cNvSpPr>
          <p:nvPr/>
        </p:nvSpPr>
        <p:spPr>
          <a:xfrm>
            <a:off x="270630" y="1633699"/>
            <a:ext cx="12188756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id-ID" dirty="0">
                <a:solidFill>
                  <a:srgbClr val="07038B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an Cryptocurrency</a:t>
            </a:r>
            <a:endParaRPr lang="en-ID" dirty="0">
              <a:solidFill>
                <a:srgbClr val="07038B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24E20328-0D5A-4D54-B4A3-10FA46A0EE9C}"/>
              </a:ext>
            </a:extLst>
          </p:cNvPr>
          <p:cNvCxnSpPr>
            <a:cxnSpLocks/>
          </p:cNvCxnSpPr>
          <p:nvPr/>
        </p:nvCxnSpPr>
        <p:spPr>
          <a:xfrm>
            <a:off x="1745530" y="5681886"/>
            <a:ext cx="329184" cy="0"/>
          </a:xfrm>
          <a:prstGeom prst="line">
            <a:avLst/>
          </a:prstGeom>
          <a:noFill/>
          <a:ln w="44450" cap="rnd" cmpd="sng" algn="ctr">
            <a:solidFill>
              <a:srgbClr val="818AF0"/>
            </a:solidFill>
            <a:prstDash val="solid"/>
            <a:round/>
          </a:ln>
          <a:effectLst/>
        </p:spPr>
      </p:cxnSp>
      <p:grpSp>
        <p:nvGrpSpPr>
          <p:cNvPr id="204" name="Graphic 5">
            <a:extLst>
              <a:ext uri="{FF2B5EF4-FFF2-40B4-BE49-F238E27FC236}">
                <a16:creationId xmlns:a16="http://schemas.microsoft.com/office/drawing/2014/main" id="{C28F67D2-4A6C-4633-A05A-C220A8B0B44C}"/>
              </a:ext>
            </a:extLst>
          </p:cNvPr>
          <p:cNvGrpSpPr/>
          <p:nvPr/>
        </p:nvGrpSpPr>
        <p:grpSpPr>
          <a:xfrm>
            <a:off x="1676635" y="2063583"/>
            <a:ext cx="233487" cy="226190"/>
            <a:chOff x="10629711" y="4500562"/>
            <a:chExt cx="182880" cy="177165"/>
          </a:xfrm>
          <a:solidFill>
            <a:srgbClr val="E0E0E0"/>
          </a:solidFill>
        </p:grpSpPr>
        <p:sp>
          <p:nvSpPr>
            <p:cNvPr id="205" name="Freeform 225">
              <a:extLst>
                <a:ext uri="{FF2B5EF4-FFF2-40B4-BE49-F238E27FC236}">
                  <a16:creationId xmlns:a16="http://schemas.microsoft.com/office/drawing/2014/main" id="{8A03175E-E54F-4012-8054-E5AEDC23A123}"/>
                </a:ext>
              </a:extLst>
            </p:cNvPr>
            <p:cNvSpPr/>
            <p:nvPr/>
          </p:nvSpPr>
          <p:spPr>
            <a:xfrm>
              <a:off x="10718294" y="4500562"/>
              <a:ext cx="5715" cy="177165"/>
            </a:xfrm>
            <a:custGeom>
              <a:avLst/>
              <a:gdLst>
                <a:gd name="connsiteX0" fmla="*/ 2857 w 5715"/>
                <a:gd name="connsiteY0" fmla="*/ 177165 h 177165"/>
                <a:gd name="connsiteX1" fmla="*/ 0 w 5715"/>
                <a:gd name="connsiteY1" fmla="*/ 88582 h 177165"/>
                <a:gd name="connsiteX2" fmla="*/ 2857 w 5715"/>
                <a:gd name="connsiteY2" fmla="*/ 0 h 177165"/>
                <a:gd name="connsiteX3" fmla="*/ 5715 w 5715"/>
                <a:gd name="connsiteY3" fmla="*/ 88582 h 177165"/>
                <a:gd name="connsiteX4" fmla="*/ 2857 w 5715"/>
                <a:gd name="connsiteY4" fmla="*/ 177165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" h="177165">
                  <a:moveTo>
                    <a:pt x="2857" y="177165"/>
                  </a:moveTo>
                  <a:cubicBezTo>
                    <a:pt x="1905" y="177165"/>
                    <a:pt x="0" y="137160"/>
                    <a:pt x="0" y="88582"/>
                  </a:cubicBezTo>
                  <a:cubicBezTo>
                    <a:pt x="0" y="40005"/>
                    <a:pt x="953" y="0"/>
                    <a:pt x="2857" y="0"/>
                  </a:cubicBezTo>
                  <a:cubicBezTo>
                    <a:pt x="3810" y="0"/>
                    <a:pt x="5715" y="40005"/>
                    <a:pt x="5715" y="88582"/>
                  </a:cubicBezTo>
                  <a:cubicBezTo>
                    <a:pt x="5715" y="137160"/>
                    <a:pt x="4763" y="177165"/>
                    <a:pt x="2857" y="177165"/>
                  </a:cubicBezTo>
                  <a:close/>
                </a:path>
              </a:pathLst>
            </a:custGeom>
            <a:solidFill>
              <a:srgbClr val="E0E0E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6" name="Freeform 226">
              <a:extLst>
                <a:ext uri="{FF2B5EF4-FFF2-40B4-BE49-F238E27FC236}">
                  <a16:creationId xmlns:a16="http://schemas.microsoft.com/office/drawing/2014/main" id="{597F8A12-DA9D-40C2-8A0B-C5AD0FF7F931}"/>
                </a:ext>
              </a:extLst>
            </p:cNvPr>
            <p:cNvSpPr/>
            <p:nvPr/>
          </p:nvSpPr>
          <p:spPr>
            <a:xfrm>
              <a:off x="10629711" y="4586287"/>
              <a:ext cx="182880" cy="5715"/>
            </a:xfrm>
            <a:custGeom>
              <a:avLst/>
              <a:gdLst>
                <a:gd name="connsiteX0" fmla="*/ 182880 w 182880"/>
                <a:gd name="connsiteY0" fmla="*/ 2857 h 5715"/>
                <a:gd name="connsiteX1" fmla="*/ 91440 w 182880"/>
                <a:gd name="connsiteY1" fmla="*/ 5715 h 5715"/>
                <a:gd name="connsiteX2" fmla="*/ 0 w 182880"/>
                <a:gd name="connsiteY2" fmla="*/ 2857 h 5715"/>
                <a:gd name="connsiteX3" fmla="*/ 91440 w 182880"/>
                <a:gd name="connsiteY3" fmla="*/ 0 h 5715"/>
                <a:gd name="connsiteX4" fmla="*/ 182880 w 182880"/>
                <a:gd name="connsiteY4" fmla="*/ 2857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80" h="5715">
                  <a:moveTo>
                    <a:pt x="182880" y="2857"/>
                  </a:moveTo>
                  <a:cubicBezTo>
                    <a:pt x="182880" y="3810"/>
                    <a:pt x="141923" y="5715"/>
                    <a:pt x="91440" y="5715"/>
                  </a:cubicBezTo>
                  <a:cubicBezTo>
                    <a:pt x="40958" y="5715"/>
                    <a:pt x="0" y="4763"/>
                    <a:pt x="0" y="2857"/>
                  </a:cubicBezTo>
                  <a:cubicBezTo>
                    <a:pt x="0" y="1905"/>
                    <a:pt x="40958" y="0"/>
                    <a:pt x="91440" y="0"/>
                  </a:cubicBezTo>
                  <a:cubicBezTo>
                    <a:pt x="141923" y="0"/>
                    <a:pt x="182880" y="953"/>
                    <a:pt x="182880" y="2857"/>
                  </a:cubicBezTo>
                  <a:close/>
                </a:path>
              </a:pathLst>
            </a:custGeom>
            <a:solidFill>
              <a:srgbClr val="E0E0E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7" name="Freeform 227">
            <a:extLst>
              <a:ext uri="{FF2B5EF4-FFF2-40B4-BE49-F238E27FC236}">
                <a16:creationId xmlns:a16="http://schemas.microsoft.com/office/drawing/2014/main" id="{6A887ABA-B510-4D1F-9BD9-91D9633B543A}"/>
              </a:ext>
            </a:extLst>
          </p:cNvPr>
          <p:cNvSpPr/>
          <p:nvPr/>
        </p:nvSpPr>
        <p:spPr>
          <a:xfrm>
            <a:off x="3928809" y="1071657"/>
            <a:ext cx="71692" cy="71691"/>
          </a:xfrm>
          <a:custGeom>
            <a:avLst/>
            <a:gdLst>
              <a:gd name="connsiteX0" fmla="*/ 60960 w 60960"/>
              <a:gd name="connsiteY0" fmla="*/ 30480 h 60959"/>
              <a:gd name="connsiteX1" fmla="*/ 30480 w 60960"/>
              <a:gd name="connsiteY1" fmla="*/ 60960 h 60959"/>
              <a:gd name="connsiteX2" fmla="*/ 0 w 60960"/>
              <a:gd name="connsiteY2" fmla="*/ 30480 h 60959"/>
              <a:gd name="connsiteX3" fmla="*/ 30480 w 60960"/>
              <a:gd name="connsiteY3" fmla="*/ 0 h 60959"/>
              <a:gd name="connsiteX4" fmla="*/ 60960 w 60960"/>
              <a:gd name="connsiteY4" fmla="*/ 30480 h 60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" h="60959">
                <a:moveTo>
                  <a:pt x="60960" y="30480"/>
                </a:moveTo>
                <a:cubicBezTo>
                  <a:pt x="60960" y="47625"/>
                  <a:pt x="47625" y="60960"/>
                  <a:pt x="30480" y="60960"/>
                </a:cubicBezTo>
                <a:cubicBezTo>
                  <a:pt x="13335" y="60960"/>
                  <a:pt x="0" y="47625"/>
                  <a:pt x="0" y="30480"/>
                </a:cubicBezTo>
                <a:cubicBezTo>
                  <a:pt x="0" y="13335"/>
                  <a:pt x="13335" y="0"/>
                  <a:pt x="30480" y="0"/>
                </a:cubicBezTo>
                <a:cubicBezTo>
                  <a:pt x="47625" y="0"/>
                  <a:pt x="60960" y="13335"/>
                  <a:pt x="60960" y="30480"/>
                </a:cubicBezTo>
                <a:close/>
              </a:path>
            </a:pathLst>
          </a:custGeom>
          <a:solidFill>
            <a:srgbClr val="0F0B8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8" name="Freeform 228">
            <a:extLst>
              <a:ext uri="{FF2B5EF4-FFF2-40B4-BE49-F238E27FC236}">
                <a16:creationId xmlns:a16="http://schemas.microsoft.com/office/drawing/2014/main" id="{08A07020-1CA3-4EDA-A128-88E4AC85F210}"/>
              </a:ext>
            </a:extLst>
          </p:cNvPr>
          <p:cNvSpPr/>
          <p:nvPr/>
        </p:nvSpPr>
        <p:spPr>
          <a:xfrm>
            <a:off x="1079413" y="586591"/>
            <a:ext cx="138633" cy="138631"/>
          </a:xfrm>
          <a:custGeom>
            <a:avLst/>
            <a:gdLst>
              <a:gd name="connsiteX0" fmla="*/ 108585 w 108585"/>
              <a:gd name="connsiteY0" fmla="*/ 54293 h 108584"/>
              <a:gd name="connsiteX1" fmla="*/ 54292 w 108585"/>
              <a:gd name="connsiteY1" fmla="*/ 108585 h 108584"/>
              <a:gd name="connsiteX2" fmla="*/ 0 w 108585"/>
              <a:gd name="connsiteY2" fmla="*/ 54293 h 108584"/>
              <a:gd name="connsiteX3" fmla="*/ 54292 w 108585"/>
              <a:gd name="connsiteY3" fmla="*/ 0 h 108584"/>
              <a:gd name="connsiteX4" fmla="*/ 108585 w 108585"/>
              <a:gd name="connsiteY4" fmla="*/ 54293 h 108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585" h="108584">
                <a:moveTo>
                  <a:pt x="108585" y="54293"/>
                </a:moveTo>
                <a:cubicBezTo>
                  <a:pt x="108585" y="84277"/>
                  <a:pt x="84277" y="108585"/>
                  <a:pt x="54292" y="108585"/>
                </a:cubicBezTo>
                <a:cubicBezTo>
                  <a:pt x="24308" y="108585"/>
                  <a:pt x="0" y="84277"/>
                  <a:pt x="0" y="54293"/>
                </a:cubicBezTo>
                <a:cubicBezTo>
                  <a:pt x="0" y="24308"/>
                  <a:pt x="24308" y="0"/>
                  <a:pt x="54292" y="0"/>
                </a:cubicBezTo>
                <a:cubicBezTo>
                  <a:pt x="84277" y="0"/>
                  <a:pt x="108585" y="24308"/>
                  <a:pt x="108585" y="54293"/>
                </a:cubicBezTo>
                <a:close/>
              </a:path>
            </a:pathLst>
          </a:custGeom>
          <a:solidFill>
            <a:srgbClr val="E0E0E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B2247CF7-4FFE-4633-B46F-0657EC7DC6E9}"/>
              </a:ext>
            </a:extLst>
          </p:cNvPr>
          <p:cNvSpPr txBox="1"/>
          <p:nvPr/>
        </p:nvSpPr>
        <p:spPr>
          <a:xfrm>
            <a:off x="906681" y="5095538"/>
            <a:ext cx="252658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>
                <a:solidFill>
                  <a:srgbClr val="07038B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dhur Garg</a:t>
            </a:r>
          </a:p>
          <a:p>
            <a:r>
              <a:rPr lang="en-IN" sz="2000" b="1" dirty="0">
                <a:solidFill>
                  <a:srgbClr val="07038B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iyaranjan Mishra</a:t>
            </a:r>
          </a:p>
          <a:p>
            <a:r>
              <a:rPr lang="en-IN" sz="2000" b="1" dirty="0">
                <a:solidFill>
                  <a:srgbClr val="07038B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hiva Behal</a:t>
            </a:r>
          </a:p>
          <a:p>
            <a:r>
              <a:rPr lang="en-IN" sz="2000" b="1" dirty="0">
                <a:solidFill>
                  <a:srgbClr val="07038B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isha Saha</a:t>
            </a:r>
          </a:p>
          <a:p>
            <a:r>
              <a:rPr lang="en-IN" sz="2000" b="1" dirty="0">
                <a:solidFill>
                  <a:srgbClr val="07038B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neet Kumar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39E83D94-2ED5-48EB-A52E-4C63149523C5}"/>
              </a:ext>
            </a:extLst>
          </p:cNvPr>
          <p:cNvSpPr txBox="1"/>
          <p:nvPr/>
        </p:nvSpPr>
        <p:spPr>
          <a:xfrm>
            <a:off x="3235514" y="5105275"/>
            <a:ext cx="252658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>
                <a:solidFill>
                  <a:srgbClr val="07038B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2019025</a:t>
            </a:r>
          </a:p>
          <a:p>
            <a:r>
              <a:rPr lang="en-IN" sz="2000" b="1" dirty="0">
                <a:solidFill>
                  <a:srgbClr val="07038B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2019037</a:t>
            </a:r>
          </a:p>
          <a:p>
            <a:r>
              <a:rPr lang="en-IN" sz="2000" b="1" dirty="0">
                <a:solidFill>
                  <a:srgbClr val="07038B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2019046</a:t>
            </a:r>
          </a:p>
          <a:p>
            <a:r>
              <a:rPr lang="en-IN" sz="2000" b="1" dirty="0">
                <a:solidFill>
                  <a:srgbClr val="07038B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2019057</a:t>
            </a:r>
          </a:p>
          <a:p>
            <a:r>
              <a:rPr lang="en-IN" sz="2000" b="1" dirty="0">
                <a:solidFill>
                  <a:srgbClr val="07038B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2019058</a:t>
            </a:r>
          </a:p>
        </p:txBody>
      </p:sp>
      <p:sp>
        <p:nvSpPr>
          <p:cNvPr id="214" name="Title 1">
            <a:extLst>
              <a:ext uri="{FF2B5EF4-FFF2-40B4-BE49-F238E27FC236}">
                <a16:creationId xmlns:a16="http://schemas.microsoft.com/office/drawing/2014/main" id="{A99DC323-8E8D-4288-B152-5CCD4EB39132}"/>
              </a:ext>
            </a:extLst>
          </p:cNvPr>
          <p:cNvSpPr txBox="1">
            <a:spLocks/>
          </p:cNvSpPr>
          <p:nvPr/>
        </p:nvSpPr>
        <p:spPr>
          <a:xfrm>
            <a:off x="270630" y="946854"/>
            <a:ext cx="12188756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IN" dirty="0">
                <a:solidFill>
                  <a:srgbClr val="07038B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lockchain Project On:</a:t>
            </a:r>
            <a:endParaRPr lang="en-ID" dirty="0">
              <a:solidFill>
                <a:srgbClr val="07038B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13" name="Picture 212">
            <a:extLst>
              <a:ext uri="{FF2B5EF4-FFF2-40B4-BE49-F238E27FC236}">
                <a16:creationId xmlns:a16="http://schemas.microsoft.com/office/drawing/2014/main" id="{B5A6D982-D98B-4428-BAA8-F3CC051D53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008" y="1107502"/>
            <a:ext cx="5826992" cy="5826992"/>
          </a:xfrm>
          <a:prstGeom prst="rect">
            <a:avLst/>
          </a:prstGeom>
        </p:spPr>
      </p:pic>
      <p:sp>
        <p:nvSpPr>
          <p:cNvPr id="210" name="Freeform: Shape 209">
            <a:extLst>
              <a:ext uri="{FF2B5EF4-FFF2-40B4-BE49-F238E27FC236}">
                <a16:creationId xmlns:a16="http://schemas.microsoft.com/office/drawing/2014/main" id="{FA4BABA9-B0D3-4715-AB77-5D99BA7A81D0}"/>
              </a:ext>
            </a:extLst>
          </p:cNvPr>
          <p:cNvSpPr/>
          <p:nvPr/>
        </p:nvSpPr>
        <p:spPr>
          <a:xfrm rot="10800000">
            <a:off x="4911725" y="1"/>
            <a:ext cx="7280275" cy="1238863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0D11E954-7E95-45A2-9C9B-C1A9BB3752AC}"/>
              </a:ext>
            </a:extLst>
          </p:cNvPr>
          <p:cNvSpPr txBox="1"/>
          <p:nvPr/>
        </p:nvSpPr>
        <p:spPr>
          <a:xfrm>
            <a:off x="919670" y="4547194"/>
            <a:ext cx="28777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>
                <a:solidFill>
                  <a:srgbClr val="123E7B"/>
                </a:solidFill>
              </a:rPr>
              <a:t>Prepared By :</a:t>
            </a:r>
          </a:p>
        </p:txBody>
      </p:sp>
    </p:spTree>
    <p:extLst>
      <p:ext uri="{BB962C8B-B14F-4D97-AF65-F5344CB8AC3E}">
        <p14:creationId xmlns:p14="http://schemas.microsoft.com/office/powerpoint/2010/main" val="18250188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zigZag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A252347A-73EF-4021-A502-2D02F6F1D190}"/>
              </a:ext>
            </a:extLst>
          </p:cNvPr>
          <p:cNvSpPr/>
          <p:nvPr/>
        </p:nvSpPr>
        <p:spPr>
          <a:xfrm rot="10800000">
            <a:off x="4911725" y="1"/>
            <a:ext cx="7280275" cy="1238863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2F4964F9-79AB-4BE1-9862-76CE4510D553}"/>
              </a:ext>
            </a:extLst>
          </p:cNvPr>
          <p:cNvSpPr/>
          <p:nvPr/>
        </p:nvSpPr>
        <p:spPr>
          <a:xfrm>
            <a:off x="-3175" y="5619137"/>
            <a:ext cx="7280275" cy="1238863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C67D406-5165-4360-8C1C-324029DCCE25}"/>
              </a:ext>
            </a:extLst>
          </p:cNvPr>
          <p:cNvSpPr txBox="1"/>
          <p:nvPr/>
        </p:nvSpPr>
        <p:spPr>
          <a:xfrm>
            <a:off x="1414216" y="961866"/>
            <a:ext cx="2482911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Segoe UI Black" panose="020B0A02040204020203" pitchFamily="34" charset="0"/>
                <a:cs typeface="Segoe UI" panose="020B0502040204020203" pitchFamily="34" charset="0"/>
              </a:rPr>
              <a:t>Objectives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entury Gothic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Slide Number Placeholder 51">
            <a:extLst>
              <a:ext uri="{FF2B5EF4-FFF2-40B4-BE49-F238E27FC236}">
                <a16:creationId xmlns:a16="http://schemas.microsoft.com/office/drawing/2014/main" id="{0E138C45-4489-4E6D-BF08-27D313165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5E5E57-0193-45F1-AA6D-ABE38BBADB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1825EAF-FA93-415F-99DC-73698BF9D57B}"/>
              </a:ext>
            </a:extLst>
          </p:cNvPr>
          <p:cNvSpPr/>
          <p:nvPr/>
        </p:nvSpPr>
        <p:spPr>
          <a:xfrm>
            <a:off x="2472237" y="3746724"/>
            <a:ext cx="1424890" cy="6380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174DEE18-1746-4BF2-8B91-E7239491A1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79887" y="142891"/>
            <a:ext cx="953423" cy="2795892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1EA4C0E1-2EA0-4BFC-B868-714247D07F90}"/>
              </a:ext>
            </a:extLst>
          </p:cNvPr>
          <p:cNvGrpSpPr/>
          <p:nvPr/>
        </p:nvGrpSpPr>
        <p:grpSpPr>
          <a:xfrm>
            <a:off x="5881688" y="1923693"/>
            <a:ext cx="5738813" cy="3465887"/>
            <a:chOff x="5881688" y="1923693"/>
            <a:chExt cx="5738813" cy="3465887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BF514EB3-96FD-4E87-BCEA-4EA42AE51780}"/>
                </a:ext>
              </a:extLst>
            </p:cNvPr>
            <p:cNvSpPr/>
            <p:nvPr/>
          </p:nvSpPr>
          <p:spPr>
            <a:xfrm>
              <a:off x="6096001" y="1923693"/>
              <a:ext cx="5524500" cy="815160"/>
            </a:xfrm>
            <a:prstGeom prst="roundRect">
              <a:avLst>
                <a:gd name="adj" fmla="val 50000"/>
              </a:avLst>
            </a:prstGeom>
            <a:noFill/>
            <a:ln w="12700">
              <a:solidFill>
                <a:srgbClr val="39376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457200" bIns="0" rtlCol="0" anchor="ctr"/>
            <a:lstStyle/>
            <a:p>
              <a:pPr>
                <a:buClr>
                  <a:srgbClr val="4472C4"/>
                </a:buClr>
                <a:defRPr/>
              </a:pPr>
              <a:r>
                <a:rPr lang="en-US" dirty="0">
                  <a:solidFill>
                    <a:prstClr val="black"/>
                  </a:solidFill>
                  <a:latin typeface="Calibri" panose="020F0502020204030204"/>
                </a:rPr>
                <a:t>Enabling Small Merchants To Benefit From Digitization</a:t>
              </a: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164D587F-A42C-4FB0-9482-4D60F6B9AFC5}"/>
                </a:ext>
              </a:extLst>
            </p:cNvPr>
            <p:cNvSpPr/>
            <p:nvPr/>
          </p:nvSpPr>
          <p:spPr>
            <a:xfrm>
              <a:off x="6096001" y="3250020"/>
              <a:ext cx="5524500" cy="815160"/>
            </a:xfrm>
            <a:prstGeom prst="roundRect">
              <a:avLst>
                <a:gd name="adj" fmla="val 50000"/>
              </a:avLst>
            </a:prstGeom>
            <a:noFill/>
            <a:ln w="12700">
              <a:solidFill>
                <a:srgbClr val="E4859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457200" bIns="0" rtlCol="0" anchor="ctr"/>
            <a:lstStyle/>
            <a:p>
              <a:pPr>
                <a:buClr>
                  <a:srgbClr val="4472C4"/>
                </a:buClr>
                <a:defRPr/>
              </a:pPr>
              <a:r>
                <a:rPr lang="en-US" dirty="0">
                  <a:solidFill>
                    <a:prstClr val="black"/>
                  </a:solidFill>
                  <a:latin typeface="Calibri" panose="020F0502020204030204"/>
                </a:rPr>
                <a:t>Making Financial Transactions Immune Of Thefts</a:t>
              </a: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615442FD-0FE4-45B2-A208-CF3F306C7E11}"/>
                </a:ext>
              </a:extLst>
            </p:cNvPr>
            <p:cNvSpPr/>
            <p:nvPr/>
          </p:nvSpPr>
          <p:spPr>
            <a:xfrm>
              <a:off x="6096001" y="4574420"/>
              <a:ext cx="5524500" cy="815160"/>
            </a:xfrm>
            <a:prstGeom prst="roundRect">
              <a:avLst>
                <a:gd name="adj" fmla="val 50000"/>
              </a:avLst>
            </a:prstGeom>
            <a:noFill/>
            <a:ln w="12700">
              <a:solidFill>
                <a:srgbClr val="C779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4572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ross-Border Payments At Trailblazing Speed</a:t>
              </a:r>
            </a:p>
          </p:txBody>
        </p:sp>
        <p:cxnSp>
          <p:nvCxnSpPr>
            <p:cNvPr id="34" name="Connector: Elbow 33">
              <a:extLst>
                <a:ext uri="{FF2B5EF4-FFF2-40B4-BE49-F238E27FC236}">
                  <a16:creationId xmlns:a16="http://schemas.microsoft.com/office/drawing/2014/main" id="{C6957A22-9991-45A1-A828-2D6CC8E7B875}"/>
                </a:ext>
              </a:extLst>
            </p:cNvPr>
            <p:cNvCxnSpPr>
              <a:stCxn id="11" idx="1"/>
              <a:endCxn id="43" idx="1"/>
            </p:cNvCxnSpPr>
            <p:nvPr/>
          </p:nvCxnSpPr>
          <p:spPr>
            <a:xfrm rot="10800000" flipV="1">
              <a:off x="6096001" y="2331272"/>
              <a:ext cx="12700" cy="2650727"/>
            </a:xfrm>
            <a:prstGeom prst="bentConnector3">
              <a:avLst>
                <a:gd name="adj1" fmla="val 1800000"/>
              </a:avLst>
            </a:prstGeom>
            <a:ln w="12700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2723088B-353E-48FE-B335-D0DA357BB8C8}"/>
                </a:ext>
              </a:extLst>
            </p:cNvPr>
            <p:cNvCxnSpPr>
              <a:endCxn id="42" idx="1"/>
            </p:cNvCxnSpPr>
            <p:nvPr/>
          </p:nvCxnSpPr>
          <p:spPr>
            <a:xfrm>
              <a:off x="5881688" y="3657600"/>
              <a:ext cx="214313" cy="0"/>
            </a:xfrm>
            <a:prstGeom prst="line">
              <a:avLst/>
            </a:prstGeom>
            <a:ln w="12700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159DD79E-6029-4532-A015-554E094617DB}"/>
                </a:ext>
              </a:extLst>
            </p:cNvPr>
            <p:cNvSpPr/>
            <p:nvPr/>
          </p:nvSpPr>
          <p:spPr>
            <a:xfrm>
              <a:off x="10882487" y="2018181"/>
              <a:ext cx="630038" cy="630038"/>
            </a:xfrm>
            <a:prstGeom prst="ellipse">
              <a:avLst/>
            </a:prstGeom>
            <a:solidFill>
              <a:srgbClr val="393762"/>
            </a:solid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DDD75680-3D73-4951-9AC8-BAF78E402EF2}"/>
                </a:ext>
              </a:extLst>
            </p:cNvPr>
            <p:cNvSpPr/>
            <p:nvPr/>
          </p:nvSpPr>
          <p:spPr>
            <a:xfrm>
              <a:off x="10882487" y="3342581"/>
              <a:ext cx="630038" cy="630038"/>
            </a:xfrm>
            <a:prstGeom prst="ellipse">
              <a:avLst/>
            </a:prstGeom>
            <a:solidFill>
              <a:srgbClr val="E48592"/>
            </a:solid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27D15F52-9E12-4FA0-A62E-8520D37C2E7F}"/>
                </a:ext>
              </a:extLst>
            </p:cNvPr>
            <p:cNvSpPr/>
            <p:nvPr/>
          </p:nvSpPr>
          <p:spPr>
            <a:xfrm>
              <a:off x="10882487" y="4666981"/>
              <a:ext cx="630038" cy="630038"/>
            </a:xfrm>
            <a:prstGeom prst="ellipse">
              <a:avLst/>
            </a:prstGeom>
            <a:solidFill>
              <a:srgbClr val="C779D0"/>
            </a:solid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C7356674-4F26-4A01-B88B-D380F401B277}"/>
                </a:ext>
              </a:extLst>
            </p:cNvPr>
            <p:cNvGrpSpPr/>
            <p:nvPr/>
          </p:nvGrpSpPr>
          <p:grpSpPr>
            <a:xfrm>
              <a:off x="11053837" y="2195088"/>
              <a:ext cx="287338" cy="276225"/>
              <a:chOff x="9309100" y="1363663"/>
              <a:chExt cx="287338" cy="276225"/>
            </a:xfrm>
            <a:solidFill>
              <a:schemeClr val="bg1"/>
            </a:solidFill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grpSpPr>
          <p:sp>
            <p:nvSpPr>
              <p:cNvPr id="87" name="Freeform 77">
                <a:extLst>
                  <a:ext uri="{FF2B5EF4-FFF2-40B4-BE49-F238E27FC236}">
                    <a16:creationId xmlns:a16="http://schemas.microsoft.com/office/drawing/2014/main" id="{22ECEF17-9E51-4AE2-AC96-CBB7DE6DF5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09100" y="1363663"/>
                <a:ext cx="161925" cy="276225"/>
              </a:xfrm>
              <a:custGeom>
                <a:avLst/>
                <a:gdLst>
                  <a:gd name="T0" fmla="*/ 421 w 511"/>
                  <a:gd name="T1" fmla="*/ 270 h 872"/>
                  <a:gd name="T2" fmla="*/ 361 w 511"/>
                  <a:gd name="T3" fmla="*/ 391 h 872"/>
                  <a:gd name="T4" fmla="*/ 331 w 511"/>
                  <a:gd name="T5" fmla="*/ 511 h 872"/>
                  <a:gd name="T6" fmla="*/ 301 w 511"/>
                  <a:gd name="T7" fmla="*/ 720 h 872"/>
                  <a:gd name="T8" fmla="*/ 331 w 511"/>
                  <a:gd name="T9" fmla="*/ 842 h 872"/>
                  <a:gd name="T10" fmla="*/ 60 w 511"/>
                  <a:gd name="T11" fmla="*/ 750 h 872"/>
                  <a:gd name="T12" fmla="*/ 30 w 511"/>
                  <a:gd name="T13" fmla="*/ 631 h 872"/>
                  <a:gd name="T14" fmla="*/ 30 w 511"/>
                  <a:gd name="T15" fmla="*/ 720 h 872"/>
                  <a:gd name="T16" fmla="*/ 60 w 511"/>
                  <a:gd name="T17" fmla="*/ 601 h 872"/>
                  <a:gd name="T18" fmla="*/ 90 w 511"/>
                  <a:gd name="T19" fmla="*/ 481 h 872"/>
                  <a:gd name="T20" fmla="*/ 135 w 511"/>
                  <a:gd name="T21" fmla="*/ 270 h 872"/>
                  <a:gd name="T22" fmla="*/ 150 w 511"/>
                  <a:gd name="T23" fmla="*/ 150 h 872"/>
                  <a:gd name="T24" fmla="*/ 60 w 511"/>
                  <a:gd name="T25" fmla="*/ 30 h 872"/>
                  <a:gd name="T26" fmla="*/ 391 w 511"/>
                  <a:gd name="T27" fmla="*/ 120 h 872"/>
                  <a:gd name="T28" fmla="*/ 481 w 511"/>
                  <a:gd name="T29" fmla="*/ 240 h 872"/>
                  <a:gd name="T30" fmla="*/ 481 w 511"/>
                  <a:gd name="T31" fmla="*/ 240 h 872"/>
                  <a:gd name="T32" fmla="*/ 150 w 511"/>
                  <a:gd name="T33" fmla="*/ 30 h 872"/>
                  <a:gd name="T34" fmla="*/ 120 w 511"/>
                  <a:gd name="T35" fmla="*/ 481 h 872"/>
                  <a:gd name="T36" fmla="*/ 150 w 511"/>
                  <a:gd name="T37" fmla="*/ 601 h 872"/>
                  <a:gd name="T38" fmla="*/ 120 w 511"/>
                  <a:gd name="T39" fmla="*/ 720 h 872"/>
                  <a:gd name="T40" fmla="*/ 301 w 511"/>
                  <a:gd name="T41" fmla="*/ 750 h 872"/>
                  <a:gd name="T42" fmla="*/ 180 w 511"/>
                  <a:gd name="T43" fmla="*/ 360 h 872"/>
                  <a:gd name="T44" fmla="*/ 241 w 511"/>
                  <a:gd name="T45" fmla="*/ 240 h 872"/>
                  <a:gd name="T46" fmla="*/ 505 w 511"/>
                  <a:gd name="T47" fmla="*/ 267 h 872"/>
                  <a:gd name="T48" fmla="*/ 511 w 511"/>
                  <a:gd name="T49" fmla="*/ 255 h 872"/>
                  <a:gd name="T50" fmla="*/ 507 w 511"/>
                  <a:gd name="T51" fmla="*/ 124 h 872"/>
                  <a:gd name="T52" fmla="*/ 421 w 511"/>
                  <a:gd name="T53" fmla="*/ 120 h 872"/>
                  <a:gd name="T54" fmla="*/ 417 w 511"/>
                  <a:gd name="T55" fmla="*/ 4 h 872"/>
                  <a:gd name="T56" fmla="*/ 45 w 511"/>
                  <a:gd name="T57" fmla="*/ 0 h 872"/>
                  <a:gd name="T58" fmla="*/ 33 w 511"/>
                  <a:gd name="T59" fmla="*/ 6 h 872"/>
                  <a:gd name="T60" fmla="*/ 30 w 511"/>
                  <a:gd name="T61" fmla="*/ 138 h 872"/>
                  <a:gd name="T62" fmla="*/ 40 w 511"/>
                  <a:gd name="T63" fmla="*/ 148 h 872"/>
                  <a:gd name="T64" fmla="*/ 75 w 511"/>
                  <a:gd name="T65" fmla="*/ 240 h 872"/>
                  <a:gd name="T66" fmla="*/ 63 w 511"/>
                  <a:gd name="T67" fmla="*/ 247 h 872"/>
                  <a:gd name="T68" fmla="*/ 15 w 511"/>
                  <a:gd name="T69" fmla="*/ 360 h 872"/>
                  <a:gd name="T70" fmla="*/ 2 w 511"/>
                  <a:gd name="T71" fmla="*/ 367 h 872"/>
                  <a:gd name="T72" fmla="*/ 0 w 511"/>
                  <a:gd name="T73" fmla="*/ 499 h 872"/>
                  <a:gd name="T74" fmla="*/ 10 w 511"/>
                  <a:gd name="T75" fmla="*/ 509 h 872"/>
                  <a:gd name="T76" fmla="*/ 15 w 511"/>
                  <a:gd name="T77" fmla="*/ 601 h 872"/>
                  <a:gd name="T78" fmla="*/ 2 w 511"/>
                  <a:gd name="T79" fmla="*/ 607 h 872"/>
                  <a:gd name="T80" fmla="*/ 0 w 511"/>
                  <a:gd name="T81" fmla="*/ 739 h 872"/>
                  <a:gd name="T82" fmla="*/ 10 w 511"/>
                  <a:gd name="T83" fmla="*/ 749 h 872"/>
                  <a:gd name="T84" fmla="*/ 30 w 511"/>
                  <a:gd name="T85" fmla="*/ 859 h 872"/>
                  <a:gd name="T86" fmla="*/ 40 w 511"/>
                  <a:gd name="T87" fmla="*/ 870 h 872"/>
                  <a:gd name="T88" fmla="*/ 411 w 511"/>
                  <a:gd name="T89" fmla="*/ 870 h 872"/>
                  <a:gd name="T90" fmla="*/ 421 w 511"/>
                  <a:gd name="T91" fmla="*/ 860 h 872"/>
                  <a:gd name="T92" fmla="*/ 419 w 511"/>
                  <a:gd name="T93" fmla="*/ 728 h 872"/>
                  <a:gd name="T94" fmla="*/ 406 w 511"/>
                  <a:gd name="T95" fmla="*/ 720 h 872"/>
                  <a:gd name="T96" fmla="*/ 411 w 511"/>
                  <a:gd name="T97" fmla="*/ 629 h 872"/>
                  <a:gd name="T98" fmla="*/ 421 w 511"/>
                  <a:gd name="T99" fmla="*/ 619 h 872"/>
                  <a:gd name="T100" fmla="*/ 419 w 511"/>
                  <a:gd name="T101" fmla="*/ 487 h 872"/>
                  <a:gd name="T102" fmla="*/ 406 w 511"/>
                  <a:gd name="T103" fmla="*/ 481 h 872"/>
                  <a:gd name="T104" fmla="*/ 442 w 511"/>
                  <a:gd name="T105" fmla="*/ 389 h 872"/>
                  <a:gd name="T106" fmla="*/ 451 w 511"/>
                  <a:gd name="T107" fmla="*/ 378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11" h="872">
                    <a:moveTo>
                      <a:pt x="421" y="360"/>
                    </a:moveTo>
                    <a:lnTo>
                      <a:pt x="376" y="360"/>
                    </a:lnTo>
                    <a:lnTo>
                      <a:pt x="361" y="360"/>
                    </a:lnTo>
                    <a:lnTo>
                      <a:pt x="361" y="270"/>
                    </a:lnTo>
                    <a:lnTo>
                      <a:pt x="421" y="270"/>
                    </a:lnTo>
                    <a:lnTo>
                      <a:pt x="421" y="360"/>
                    </a:lnTo>
                    <a:close/>
                    <a:moveTo>
                      <a:pt x="361" y="481"/>
                    </a:moveTo>
                    <a:lnTo>
                      <a:pt x="301" y="481"/>
                    </a:lnTo>
                    <a:lnTo>
                      <a:pt x="301" y="391"/>
                    </a:lnTo>
                    <a:lnTo>
                      <a:pt x="361" y="391"/>
                    </a:lnTo>
                    <a:lnTo>
                      <a:pt x="361" y="481"/>
                    </a:lnTo>
                    <a:close/>
                    <a:moveTo>
                      <a:pt x="391" y="601"/>
                    </a:moveTo>
                    <a:lnTo>
                      <a:pt x="376" y="601"/>
                    </a:lnTo>
                    <a:lnTo>
                      <a:pt x="331" y="601"/>
                    </a:lnTo>
                    <a:lnTo>
                      <a:pt x="331" y="511"/>
                    </a:lnTo>
                    <a:lnTo>
                      <a:pt x="376" y="511"/>
                    </a:lnTo>
                    <a:lnTo>
                      <a:pt x="391" y="511"/>
                    </a:lnTo>
                    <a:lnTo>
                      <a:pt x="391" y="601"/>
                    </a:lnTo>
                    <a:close/>
                    <a:moveTo>
                      <a:pt x="361" y="720"/>
                    </a:moveTo>
                    <a:lnTo>
                      <a:pt x="301" y="720"/>
                    </a:lnTo>
                    <a:lnTo>
                      <a:pt x="301" y="631"/>
                    </a:lnTo>
                    <a:lnTo>
                      <a:pt x="361" y="631"/>
                    </a:lnTo>
                    <a:lnTo>
                      <a:pt x="361" y="720"/>
                    </a:lnTo>
                    <a:close/>
                    <a:moveTo>
                      <a:pt x="391" y="842"/>
                    </a:moveTo>
                    <a:lnTo>
                      <a:pt x="331" y="842"/>
                    </a:lnTo>
                    <a:lnTo>
                      <a:pt x="331" y="750"/>
                    </a:lnTo>
                    <a:lnTo>
                      <a:pt x="376" y="750"/>
                    </a:lnTo>
                    <a:lnTo>
                      <a:pt x="391" y="750"/>
                    </a:lnTo>
                    <a:lnTo>
                      <a:pt x="391" y="842"/>
                    </a:lnTo>
                    <a:close/>
                    <a:moveTo>
                      <a:pt x="60" y="750"/>
                    </a:moveTo>
                    <a:lnTo>
                      <a:pt x="120" y="750"/>
                    </a:lnTo>
                    <a:lnTo>
                      <a:pt x="120" y="842"/>
                    </a:lnTo>
                    <a:lnTo>
                      <a:pt x="60" y="842"/>
                    </a:lnTo>
                    <a:lnTo>
                      <a:pt x="60" y="750"/>
                    </a:lnTo>
                    <a:close/>
                    <a:moveTo>
                      <a:pt x="30" y="631"/>
                    </a:moveTo>
                    <a:lnTo>
                      <a:pt x="45" y="631"/>
                    </a:lnTo>
                    <a:lnTo>
                      <a:pt x="90" y="631"/>
                    </a:lnTo>
                    <a:lnTo>
                      <a:pt x="90" y="720"/>
                    </a:lnTo>
                    <a:lnTo>
                      <a:pt x="45" y="720"/>
                    </a:lnTo>
                    <a:lnTo>
                      <a:pt x="30" y="720"/>
                    </a:lnTo>
                    <a:lnTo>
                      <a:pt x="30" y="631"/>
                    </a:lnTo>
                    <a:close/>
                    <a:moveTo>
                      <a:pt x="60" y="511"/>
                    </a:moveTo>
                    <a:lnTo>
                      <a:pt x="120" y="511"/>
                    </a:lnTo>
                    <a:lnTo>
                      <a:pt x="120" y="601"/>
                    </a:lnTo>
                    <a:lnTo>
                      <a:pt x="60" y="601"/>
                    </a:lnTo>
                    <a:lnTo>
                      <a:pt x="60" y="511"/>
                    </a:lnTo>
                    <a:close/>
                    <a:moveTo>
                      <a:pt x="30" y="391"/>
                    </a:moveTo>
                    <a:lnTo>
                      <a:pt x="75" y="391"/>
                    </a:lnTo>
                    <a:lnTo>
                      <a:pt x="90" y="391"/>
                    </a:lnTo>
                    <a:lnTo>
                      <a:pt x="90" y="481"/>
                    </a:lnTo>
                    <a:lnTo>
                      <a:pt x="45" y="481"/>
                    </a:lnTo>
                    <a:lnTo>
                      <a:pt x="30" y="481"/>
                    </a:lnTo>
                    <a:lnTo>
                      <a:pt x="30" y="391"/>
                    </a:lnTo>
                    <a:close/>
                    <a:moveTo>
                      <a:pt x="90" y="270"/>
                    </a:moveTo>
                    <a:lnTo>
                      <a:pt x="135" y="270"/>
                    </a:lnTo>
                    <a:lnTo>
                      <a:pt x="150" y="270"/>
                    </a:lnTo>
                    <a:lnTo>
                      <a:pt x="150" y="360"/>
                    </a:lnTo>
                    <a:lnTo>
                      <a:pt x="90" y="360"/>
                    </a:lnTo>
                    <a:lnTo>
                      <a:pt x="90" y="270"/>
                    </a:lnTo>
                    <a:close/>
                    <a:moveTo>
                      <a:pt x="150" y="150"/>
                    </a:moveTo>
                    <a:lnTo>
                      <a:pt x="211" y="150"/>
                    </a:lnTo>
                    <a:lnTo>
                      <a:pt x="211" y="240"/>
                    </a:lnTo>
                    <a:lnTo>
                      <a:pt x="150" y="240"/>
                    </a:lnTo>
                    <a:lnTo>
                      <a:pt x="150" y="150"/>
                    </a:lnTo>
                    <a:close/>
                    <a:moveTo>
                      <a:pt x="60" y="30"/>
                    </a:moveTo>
                    <a:lnTo>
                      <a:pt x="120" y="30"/>
                    </a:lnTo>
                    <a:lnTo>
                      <a:pt x="120" y="120"/>
                    </a:lnTo>
                    <a:lnTo>
                      <a:pt x="60" y="120"/>
                    </a:lnTo>
                    <a:lnTo>
                      <a:pt x="60" y="30"/>
                    </a:lnTo>
                    <a:close/>
                    <a:moveTo>
                      <a:pt x="391" y="120"/>
                    </a:moveTo>
                    <a:lnTo>
                      <a:pt x="331" y="120"/>
                    </a:lnTo>
                    <a:lnTo>
                      <a:pt x="331" y="30"/>
                    </a:lnTo>
                    <a:lnTo>
                      <a:pt x="391" y="30"/>
                    </a:lnTo>
                    <a:lnTo>
                      <a:pt x="391" y="120"/>
                    </a:lnTo>
                    <a:close/>
                    <a:moveTo>
                      <a:pt x="481" y="240"/>
                    </a:moveTo>
                    <a:lnTo>
                      <a:pt x="436" y="240"/>
                    </a:lnTo>
                    <a:lnTo>
                      <a:pt x="421" y="240"/>
                    </a:lnTo>
                    <a:lnTo>
                      <a:pt x="421" y="150"/>
                    </a:lnTo>
                    <a:lnTo>
                      <a:pt x="481" y="150"/>
                    </a:lnTo>
                    <a:lnTo>
                      <a:pt x="481" y="240"/>
                    </a:lnTo>
                    <a:close/>
                    <a:moveTo>
                      <a:pt x="150" y="30"/>
                    </a:moveTo>
                    <a:lnTo>
                      <a:pt x="301" y="30"/>
                    </a:lnTo>
                    <a:lnTo>
                      <a:pt x="301" y="120"/>
                    </a:lnTo>
                    <a:lnTo>
                      <a:pt x="150" y="120"/>
                    </a:lnTo>
                    <a:lnTo>
                      <a:pt x="150" y="30"/>
                    </a:lnTo>
                    <a:close/>
                    <a:moveTo>
                      <a:pt x="120" y="481"/>
                    </a:moveTo>
                    <a:lnTo>
                      <a:pt x="120" y="391"/>
                    </a:lnTo>
                    <a:lnTo>
                      <a:pt x="271" y="391"/>
                    </a:lnTo>
                    <a:lnTo>
                      <a:pt x="271" y="481"/>
                    </a:lnTo>
                    <a:lnTo>
                      <a:pt x="120" y="481"/>
                    </a:lnTo>
                    <a:close/>
                    <a:moveTo>
                      <a:pt x="150" y="601"/>
                    </a:moveTo>
                    <a:lnTo>
                      <a:pt x="150" y="511"/>
                    </a:lnTo>
                    <a:lnTo>
                      <a:pt x="301" y="511"/>
                    </a:lnTo>
                    <a:lnTo>
                      <a:pt x="301" y="601"/>
                    </a:lnTo>
                    <a:lnTo>
                      <a:pt x="150" y="601"/>
                    </a:lnTo>
                    <a:close/>
                    <a:moveTo>
                      <a:pt x="120" y="720"/>
                    </a:moveTo>
                    <a:lnTo>
                      <a:pt x="120" y="631"/>
                    </a:lnTo>
                    <a:lnTo>
                      <a:pt x="271" y="631"/>
                    </a:lnTo>
                    <a:lnTo>
                      <a:pt x="271" y="720"/>
                    </a:lnTo>
                    <a:lnTo>
                      <a:pt x="120" y="720"/>
                    </a:lnTo>
                    <a:close/>
                    <a:moveTo>
                      <a:pt x="301" y="750"/>
                    </a:moveTo>
                    <a:lnTo>
                      <a:pt x="301" y="842"/>
                    </a:lnTo>
                    <a:lnTo>
                      <a:pt x="150" y="842"/>
                    </a:lnTo>
                    <a:lnTo>
                      <a:pt x="150" y="750"/>
                    </a:lnTo>
                    <a:lnTo>
                      <a:pt x="301" y="750"/>
                    </a:lnTo>
                    <a:close/>
                    <a:moveTo>
                      <a:pt x="180" y="360"/>
                    </a:moveTo>
                    <a:lnTo>
                      <a:pt x="180" y="270"/>
                    </a:lnTo>
                    <a:lnTo>
                      <a:pt x="331" y="270"/>
                    </a:lnTo>
                    <a:lnTo>
                      <a:pt x="331" y="360"/>
                    </a:lnTo>
                    <a:lnTo>
                      <a:pt x="180" y="360"/>
                    </a:lnTo>
                    <a:close/>
                    <a:moveTo>
                      <a:pt x="241" y="240"/>
                    </a:moveTo>
                    <a:lnTo>
                      <a:pt x="241" y="150"/>
                    </a:lnTo>
                    <a:lnTo>
                      <a:pt x="391" y="150"/>
                    </a:lnTo>
                    <a:lnTo>
                      <a:pt x="391" y="240"/>
                    </a:lnTo>
                    <a:lnTo>
                      <a:pt x="241" y="240"/>
                    </a:lnTo>
                    <a:close/>
                    <a:moveTo>
                      <a:pt x="451" y="270"/>
                    </a:moveTo>
                    <a:lnTo>
                      <a:pt x="496" y="270"/>
                    </a:lnTo>
                    <a:lnTo>
                      <a:pt x="499" y="270"/>
                    </a:lnTo>
                    <a:lnTo>
                      <a:pt x="502" y="268"/>
                    </a:lnTo>
                    <a:lnTo>
                      <a:pt x="505" y="267"/>
                    </a:lnTo>
                    <a:lnTo>
                      <a:pt x="507" y="265"/>
                    </a:lnTo>
                    <a:lnTo>
                      <a:pt x="509" y="263"/>
                    </a:lnTo>
                    <a:lnTo>
                      <a:pt x="510" y="261"/>
                    </a:lnTo>
                    <a:lnTo>
                      <a:pt x="511" y="258"/>
                    </a:lnTo>
                    <a:lnTo>
                      <a:pt x="511" y="255"/>
                    </a:lnTo>
                    <a:lnTo>
                      <a:pt x="511" y="135"/>
                    </a:lnTo>
                    <a:lnTo>
                      <a:pt x="511" y="131"/>
                    </a:lnTo>
                    <a:lnTo>
                      <a:pt x="510" y="129"/>
                    </a:lnTo>
                    <a:lnTo>
                      <a:pt x="509" y="126"/>
                    </a:lnTo>
                    <a:lnTo>
                      <a:pt x="507" y="124"/>
                    </a:lnTo>
                    <a:lnTo>
                      <a:pt x="505" y="122"/>
                    </a:lnTo>
                    <a:lnTo>
                      <a:pt x="502" y="121"/>
                    </a:lnTo>
                    <a:lnTo>
                      <a:pt x="499" y="120"/>
                    </a:lnTo>
                    <a:lnTo>
                      <a:pt x="496" y="120"/>
                    </a:lnTo>
                    <a:lnTo>
                      <a:pt x="421" y="120"/>
                    </a:lnTo>
                    <a:lnTo>
                      <a:pt x="421" y="15"/>
                    </a:lnTo>
                    <a:lnTo>
                      <a:pt x="421" y="11"/>
                    </a:lnTo>
                    <a:lnTo>
                      <a:pt x="420" y="8"/>
                    </a:lnTo>
                    <a:lnTo>
                      <a:pt x="419" y="6"/>
                    </a:lnTo>
                    <a:lnTo>
                      <a:pt x="417" y="4"/>
                    </a:lnTo>
                    <a:lnTo>
                      <a:pt x="415" y="2"/>
                    </a:lnTo>
                    <a:lnTo>
                      <a:pt x="411" y="1"/>
                    </a:lnTo>
                    <a:lnTo>
                      <a:pt x="409" y="0"/>
                    </a:lnTo>
                    <a:lnTo>
                      <a:pt x="406" y="0"/>
                    </a:lnTo>
                    <a:lnTo>
                      <a:pt x="45" y="0"/>
                    </a:lnTo>
                    <a:lnTo>
                      <a:pt x="42" y="0"/>
                    </a:lnTo>
                    <a:lnTo>
                      <a:pt x="40" y="1"/>
                    </a:lnTo>
                    <a:lnTo>
                      <a:pt x="36" y="2"/>
                    </a:lnTo>
                    <a:lnTo>
                      <a:pt x="34" y="4"/>
                    </a:lnTo>
                    <a:lnTo>
                      <a:pt x="33" y="6"/>
                    </a:lnTo>
                    <a:lnTo>
                      <a:pt x="31" y="8"/>
                    </a:lnTo>
                    <a:lnTo>
                      <a:pt x="30" y="11"/>
                    </a:lnTo>
                    <a:lnTo>
                      <a:pt x="30" y="15"/>
                    </a:lnTo>
                    <a:lnTo>
                      <a:pt x="30" y="135"/>
                    </a:lnTo>
                    <a:lnTo>
                      <a:pt x="30" y="138"/>
                    </a:lnTo>
                    <a:lnTo>
                      <a:pt x="31" y="140"/>
                    </a:lnTo>
                    <a:lnTo>
                      <a:pt x="33" y="143"/>
                    </a:lnTo>
                    <a:lnTo>
                      <a:pt x="34" y="145"/>
                    </a:lnTo>
                    <a:lnTo>
                      <a:pt x="36" y="147"/>
                    </a:lnTo>
                    <a:lnTo>
                      <a:pt x="40" y="148"/>
                    </a:lnTo>
                    <a:lnTo>
                      <a:pt x="42" y="150"/>
                    </a:lnTo>
                    <a:lnTo>
                      <a:pt x="45" y="150"/>
                    </a:lnTo>
                    <a:lnTo>
                      <a:pt x="120" y="150"/>
                    </a:lnTo>
                    <a:lnTo>
                      <a:pt x="120" y="240"/>
                    </a:lnTo>
                    <a:lnTo>
                      <a:pt x="75" y="240"/>
                    </a:lnTo>
                    <a:lnTo>
                      <a:pt x="72" y="241"/>
                    </a:lnTo>
                    <a:lnTo>
                      <a:pt x="70" y="241"/>
                    </a:lnTo>
                    <a:lnTo>
                      <a:pt x="66" y="243"/>
                    </a:lnTo>
                    <a:lnTo>
                      <a:pt x="64" y="244"/>
                    </a:lnTo>
                    <a:lnTo>
                      <a:pt x="63" y="247"/>
                    </a:lnTo>
                    <a:lnTo>
                      <a:pt x="61" y="249"/>
                    </a:lnTo>
                    <a:lnTo>
                      <a:pt x="60" y="252"/>
                    </a:lnTo>
                    <a:lnTo>
                      <a:pt x="60" y="255"/>
                    </a:lnTo>
                    <a:lnTo>
                      <a:pt x="60" y="360"/>
                    </a:lnTo>
                    <a:lnTo>
                      <a:pt x="15" y="360"/>
                    </a:lnTo>
                    <a:lnTo>
                      <a:pt x="12" y="361"/>
                    </a:lnTo>
                    <a:lnTo>
                      <a:pt x="10" y="362"/>
                    </a:lnTo>
                    <a:lnTo>
                      <a:pt x="6" y="363"/>
                    </a:lnTo>
                    <a:lnTo>
                      <a:pt x="4" y="365"/>
                    </a:lnTo>
                    <a:lnTo>
                      <a:pt x="2" y="367"/>
                    </a:lnTo>
                    <a:lnTo>
                      <a:pt x="1" y="369"/>
                    </a:lnTo>
                    <a:lnTo>
                      <a:pt x="0" y="372"/>
                    </a:lnTo>
                    <a:lnTo>
                      <a:pt x="0" y="376"/>
                    </a:lnTo>
                    <a:lnTo>
                      <a:pt x="0" y="496"/>
                    </a:lnTo>
                    <a:lnTo>
                      <a:pt x="0" y="499"/>
                    </a:lnTo>
                    <a:lnTo>
                      <a:pt x="1" y="501"/>
                    </a:lnTo>
                    <a:lnTo>
                      <a:pt x="2" y="504"/>
                    </a:lnTo>
                    <a:lnTo>
                      <a:pt x="4" y="506"/>
                    </a:lnTo>
                    <a:lnTo>
                      <a:pt x="6" y="508"/>
                    </a:lnTo>
                    <a:lnTo>
                      <a:pt x="10" y="509"/>
                    </a:lnTo>
                    <a:lnTo>
                      <a:pt x="12" y="511"/>
                    </a:lnTo>
                    <a:lnTo>
                      <a:pt x="15" y="511"/>
                    </a:lnTo>
                    <a:lnTo>
                      <a:pt x="30" y="511"/>
                    </a:lnTo>
                    <a:lnTo>
                      <a:pt x="30" y="601"/>
                    </a:lnTo>
                    <a:lnTo>
                      <a:pt x="15" y="601"/>
                    </a:lnTo>
                    <a:lnTo>
                      <a:pt x="12" y="601"/>
                    </a:lnTo>
                    <a:lnTo>
                      <a:pt x="10" y="602"/>
                    </a:lnTo>
                    <a:lnTo>
                      <a:pt x="6" y="603"/>
                    </a:lnTo>
                    <a:lnTo>
                      <a:pt x="4" y="605"/>
                    </a:lnTo>
                    <a:lnTo>
                      <a:pt x="2" y="607"/>
                    </a:lnTo>
                    <a:lnTo>
                      <a:pt x="1" y="610"/>
                    </a:lnTo>
                    <a:lnTo>
                      <a:pt x="0" y="612"/>
                    </a:lnTo>
                    <a:lnTo>
                      <a:pt x="0" y="616"/>
                    </a:lnTo>
                    <a:lnTo>
                      <a:pt x="0" y="735"/>
                    </a:lnTo>
                    <a:lnTo>
                      <a:pt x="0" y="739"/>
                    </a:lnTo>
                    <a:lnTo>
                      <a:pt x="1" y="742"/>
                    </a:lnTo>
                    <a:lnTo>
                      <a:pt x="2" y="744"/>
                    </a:lnTo>
                    <a:lnTo>
                      <a:pt x="4" y="746"/>
                    </a:lnTo>
                    <a:lnTo>
                      <a:pt x="6" y="748"/>
                    </a:lnTo>
                    <a:lnTo>
                      <a:pt x="10" y="749"/>
                    </a:lnTo>
                    <a:lnTo>
                      <a:pt x="12" y="750"/>
                    </a:lnTo>
                    <a:lnTo>
                      <a:pt x="15" y="752"/>
                    </a:lnTo>
                    <a:lnTo>
                      <a:pt x="30" y="750"/>
                    </a:lnTo>
                    <a:lnTo>
                      <a:pt x="30" y="857"/>
                    </a:lnTo>
                    <a:lnTo>
                      <a:pt x="30" y="859"/>
                    </a:lnTo>
                    <a:lnTo>
                      <a:pt x="31" y="862"/>
                    </a:lnTo>
                    <a:lnTo>
                      <a:pt x="33" y="865"/>
                    </a:lnTo>
                    <a:lnTo>
                      <a:pt x="34" y="867"/>
                    </a:lnTo>
                    <a:lnTo>
                      <a:pt x="36" y="868"/>
                    </a:lnTo>
                    <a:lnTo>
                      <a:pt x="40" y="870"/>
                    </a:lnTo>
                    <a:lnTo>
                      <a:pt x="42" y="870"/>
                    </a:lnTo>
                    <a:lnTo>
                      <a:pt x="45" y="872"/>
                    </a:lnTo>
                    <a:lnTo>
                      <a:pt x="406" y="872"/>
                    </a:lnTo>
                    <a:lnTo>
                      <a:pt x="409" y="870"/>
                    </a:lnTo>
                    <a:lnTo>
                      <a:pt x="411" y="870"/>
                    </a:lnTo>
                    <a:lnTo>
                      <a:pt x="415" y="868"/>
                    </a:lnTo>
                    <a:lnTo>
                      <a:pt x="417" y="867"/>
                    </a:lnTo>
                    <a:lnTo>
                      <a:pt x="419" y="865"/>
                    </a:lnTo>
                    <a:lnTo>
                      <a:pt x="420" y="862"/>
                    </a:lnTo>
                    <a:lnTo>
                      <a:pt x="421" y="860"/>
                    </a:lnTo>
                    <a:lnTo>
                      <a:pt x="421" y="857"/>
                    </a:lnTo>
                    <a:lnTo>
                      <a:pt x="421" y="735"/>
                    </a:lnTo>
                    <a:lnTo>
                      <a:pt x="421" y="733"/>
                    </a:lnTo>
                    <a:lnTo>
                      <a:pt x="420" y="730"/>
                    </a:lnTo>
                    <a:lnTo>
                      <a:pt x="419" y="728"/>
                    </a:lnTo>
                    <a:lnTo>
                      <a:pt x="417" y="726"/>
                    </a:lnTo>
                    <a:lnTo>
                      <a:pt x="415" y="724"/>
                    </a:lnTo>
                    <a:lnTo>
                      <a:pt x="411" y="723"/>
                    </a:lnTo>
                    <a:lnTo>
                      <a:pt x="409" y="722"/>
                    </a:lnTo>
                    <a:lnTo>
                      <a:pt x="406" y="720"/>
                    </a:lnTo>
                    <a:lnTo>
                      <a:pt x="391" y="720"/>
                    </a:lnTo>
                    <a:lnTo>
                      <a:pt x="391" y="631"/>
                    </a:lnTo>
                    <a:lnTo>
                      <a:pt x="406" y="631"/>
                    </a:lnTo>
                    <a:lnTo>
                      <a:pt x="409" y="631"/>
                    </a:lnTo>
                    <a:lnTo>
                      <a:pt x="411" y="629"/>
                    </a:lnTo>
                    <a:lnTo>
                      <a:pt x="415" y="628"/>
                    </a:lnTo>
                    <a:lnTo>
                      <a:pt x="417" y="626"/>
                    </a:lnTo>
                    <a:lnTo>
                      <a:pt x="419" y="624"/>
                    </a:lnTo>
                    <a:lnTo>
                      <a:pt x="420" y="622"/>
                    </a:lnTo>
                    <a:lnTo>
                      <a:pt x="421" y="619"/>
                    </a:lnTo>
                    <a:lnTo>
                      <a:pt x="421" y="616"/>
                    </a:lnTo>
                    <a:lnTo>
                      <a:pt x="421" y="496"/>
                    </a:lnTo>
                    <a:lnTo>
                      <a:pt x="421" y="492"/>
                    </a:lnTo>
                    <a:lnTo>
                      <a:pt x="420" y="489"/>
                    </a:lnTo>
                    <a:lnTo>
                      <a:pt x="419" y="487"/>
                    </a:lnTo>
                    <a:lnTo>
                      <a:pt x="417" y="485"/>
                    </a:lnTo>
                    <a:lnTo>
                      <a:pt x="415" y="483"/>
                    </a:lnTo>
                    <a:lnTo>
                      <a:pt x="411" y="482"/>
                    </a:lnTo>
                    <a:lnTo>
                      <a:pt x="409" y="481"/>
                    </a:lnTo>
                    <a:lnTo>
                      <a:pt x="406" y="481"/>
                    </a:lnTo>
                    <a:lnTo>
                      <a:pt x="391" y="481"/>
                    </a:lnTo>
                    <a:lnTo>
                      <a:pt x="391" y="391"/>
                    </a:lnTo>
                    <a:lnTo>
                      <a:pt x="436" y="391"/>
                    </a:lnTo>
                    <a:lnTo>
                      <a:pt x="439" y="389"/>
                    </a:lnTo>
                    <a:lnTo>
                      <a:pt x="442" y="389"/>
                    </a:lnTo>
                    <a:lnTo>
                      <a:pt x="445" y="387"/>
                    </a:lnTo>
                    <a:lnTo>
                      <a:pt x="447" y="386"/>
                    </a:lnTo>
                    <a:lnTo>
                      <a:pt x="449" y="383"/>
                    </a:lnTo>
                    <a:lnTo>
                      <a:pt x="450" y="381"/>
                    </a:lnTo>
                    <a:lnTo>
                      <a:pt x="451" y="378"/>
                    </a:lnTo>
                    <a:lnTo>
                      <a:pt x="451" y="376"/>
                    </a:lnTo>
                    <a:lnTo>
                      <a:pt x="451" y="2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8" name="Freeform 78">
                <a:extLst>
                  <a:ext uri="{FF2B5EF4-FFF2-40B4-BE49-F238E27FC236}">
                    <a16:creationId xmlns:a16="http://schemas.microsoft.com/office/drawing/2014/main" id="{E74DBC33-334A-46CE-8E38-AE31388AC9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51975" y="1516063"/>
                <a:ext cx="144463" cy="123825"/>
              </a:xfrm>
              <a:custGeom>
                <a:avLst/>
                <a:gdLst>
                  <a:gd name="T0" fmla="*/ 376 w 451"/>
                  <a:gd name="T1" fmla="*/ 239 h 391"/>
                  <a:gd name="T2" fmla="*/ 361 w 451"/>
                  <a:gd name="T3" fmla="*/ 150 h 391"/>
                  <a:gd name="T4" fmla="*/ 421 w 451"/>
                  <a:gd name="T5" fmla="*/ 150 h 391"/>
                  <a:gd name="T6" fmla="*/ 361 w 451"/>
                  <a:gd name="T7" fmla="*/ 361 h 391"/>
                  <a:gd name="T8" fmla="*/ 301 w 451"/>
                  <a:gd name="T9" fmla="*/ 269 h 391"/>
                  <a:gd name="T10" fmla="*/ 361 w 451"/>
                  <a:gd name="T11" fmla="*/ 361 h 391"/>
                  <a:gd name="T12" fmla="*/ 75 w 451"/>
                  <a:gd name="T13" fmla="*/ 269 h 391"/>
                  <a:gd name="T14" fmla="*/ 90 w 451"/>
                  <a:gd name="T15" fmla="*/ 361 h 391"/>
                  <a:gd name="T16" fmla="*/ 30 w 451"/>
                  <a:gd name="T17" fmla="*/ 269 h 391"/>
                  <a:gd name="T18" fmla="*/ 150 w 451"/>
                  <a:gd name="T19" fmla="*/ 150 h 391"/>
                  <a:gd name="T20" fmla="*/ 90 w 451"/>
                  <a:gd name="T21" fmla="*/ 239 h 391"/>
                  <a:gd name="T22" fmla="*/ 30 w 451"/>
                  <a:gd name="T23" fmla="*/ 30 h 391"/>
                  <a:gd name="T24" fmla="*/ 90 w 451"/>
                  <a:gd name="T25" fmla="*/ 120 h 391"/>
                  <a:gd name="T26" fmla="*/ 30 w 451"/>
                  <a:gd name="T27" fmla="*/ 120 h 391"/>
                  <a:gd name="T28" fmla="*/ 120 w 451"/>
                  <a:gd name="T29" fmla="*/ 120 h 391"/>
                  <a:gd name="T30" fmla="*/ 271 w 451"/>
                  <a:gd name="T31" fmla="*/ 30 h 391"/>
                  <a:gd name="T32" fmla="*/ 120 w 451"/>
                  <a:gd name="T33" fmla="*/ 120 h 391"/>
                  <a:gd name="T34" fmla="*/ 271 w 451"/>
                  <a:gd name="T35" fmla="*/ 361 h 391"/>
                  <a:gd name="T36" fmla="*/ 120 w 451"/>
                  <a:gd name="T37" fmla="*/ 269 h 391"/>
                  <a:gd name="T38" fmla="*/ 181 w 451"/>
                  <a:gd name="T39" fmla="*/ 239 h 391"/>
                  <a:gd name="T40" fmla="*/ 331 w 451"/>
                  <a:gd name="T41" fmla="*/ 150 h 391"/>
                  <a:gd name="T42" fmla="*/ 181 w 451"/>
                  <a:gd name="T43" fmla="*/ 239 h 391"/>
                  <a:gd name="T44" fmla="*/ 301 w 451"/>
                  <a:gd name="T45" fmla="*/ 120 h 391"/>
                  <a:gd name="T46" fmla="*/ 361 w 451"/>
                  <a:gd name="T47" fmla="*/ 30 h 391"/>
                  <a:gd name="T48" fmla="*/ 436 w 451"/>
                  <a:gd name="T49" fmla="*/ 120 h 391"/>
                  <a:gd name="T50" fmla="*/ 391 w 451"/>
                  <a:gd name="T51" fmla="*/ 15 h 391"/>
                  <a:gd name="T52" fmla="*/ 390 w 451"/>
                  <a:gd name="T53" fmla="*/ 8 h 391"/>
                  <a:gd name="T54" fmla="*/ 387 w 451"/>
                  <a:gd name="T55" fmla="*/ 4 h 391"/>
                  <a:gd name="T56" fmla="*/ 381 w 451"/>
                  <a:gd name="T57" fmla="*/ 1 h 391"/>
                  <a:gd name="T58" fmla="*/ 376 w 451"/>
                  <a:gd name="T59" fmla="*/ 0 h 391"/>
                  <a:gd name="T60" fmla="*/ 12 w 451"/>
                  <a:gd name="T61" fmla="*/ 0 h 391"/>
                  <a:gd name="T62" fmla="*/ 6 w 451"/>
                  <a:gd name="T63" fmla="*/ 2 h 391"/>
                  <a:gd name="T64" fmla="*/ 3 w 451"/>
                  <a:gd name="T65" fmla="*/ 6 h 391"/>
                  <a:gd name="T66" fmla="*/ 0 w 451"/>
                  <a:gd name="T67" fmla="*/ 11 h 391"/>
                  <a:gd name="T68" fmla="*/ 0 w 451"/>
                  <a:gd name="T69" fmla="*/ 135 h 391"/>
                  <a:gd name="T70" fmla="*/ 1 w 451"/>
                  <a:gd name="T71" fmla="*/ 141 h 391"/>
                  <a:gd name="T72" fmla="*/ 4 w 451"/>
                  <a:gd name="T73" fmla="*/ 145 h 391"/>
                  <a:gd name="T74" fmla="*/ 10 w 451"/>
                  <a:gd name="T75" fmla="*/ 148 h 391"/>
                  <a:gd name="T76" fmla="*/ 15 w 451"/>
                  <a:gd name="T77" fmla="*/ 150 h 391"/>
                  <a:gd name="T78" fmla="*/ 60 w 451"/>
                  <a:gd name="T79" fmla="*/ 239 h 391"/>
                  <a:gd name="T80" fmla="*/ 12 w 451"/>
                  <a:gd name="T81" fmla="*/ 241 h 391"/>
                  <a:gd name="T82" fmla="*/ 6 w 451"/>
                  <a:gd name="T83" fmla="*/ 243 h 391"/>
                  <a:gd name="T84" fmla="*/ 3 w 451"/>
                  <a:gd name="T85" fmla="*/ 247 h 391"/>
                  <a:gd name="T86" fmla="*/ 0 w 451"/>
                  <a:gd name="T87" fmla="*/ 252 h 391"/>
                  <a:gd name="T88" fmla="*/ 0 w 451"/>
                  <a:gd name="T89" fmla="*/ 376 h 391"/>
                  <a:gd name="T90" fmla="*/ 1 w 451"/>
                  <a:gd name="T91" fmla="*/ 381 h 391"/>
                  <a:gd name="T92" fmla="*/ 4 w 451"/>
                  <a:gd name="T93" fmla="*/ 386 h 391"/>
                  <a:gd name="T94" fmla="*/ 10 w 451"/>
                  <a:gd name="T95" fmla="*/ 389 h 391"/>
                  <a:gd name="T96" fmla="*/ 15 w 451"/>
                  <a:gd name="T97" fmla="*/ 391 h 391"/>
                  <a:gd name="T98" fmla="*/ 379 w 451"/>
                  <a:gd name="T99" fmla="*/ 389 h 391"/>
                  <a:gd name="T100" fmla="*/ 385 w 451"/>
                  <a:gd name="T101" fmla="*/ 387 h 391"/>
                  <a:gd name="T102" fmla="*/ 389 w 451"/>
                  <a:gd name="T103" fmla="*/ 384 h 391"/>
                  <a:gd name="T104" fmla="*/ 391 w 451"/>
                  <a:gd name="T105" fmla="*/ 379 h 391"/>
                  <a:gd name="T106" fmla="*/ 391 w 451"/>
                  <a:gd name="T107" fmla="*/ 269 h 391"/>
                  <a:gd name="T108" fmla="*/ 439 w 451"/>
                  <a:gd name="T109" fmla="*/ 269 h 391"/>
                  <a:gd name="T110" fmla="*/ 445 w 451"/>
                  <a:gd name="T111" fmla="*/ 267 h 391"/>
                  <a:gd name="T112" fmla="*/ 449 w 451"/>
                  <a:gd name="T113" fmla="*/ 263 h 391"/>
                  <a:gd name="T114" fmla="*/ 451 w 451"/>
                  <a:gd name="T115" fmla="*/ 258 h 391"/>
                  <a:gd name="T116" fmla="*/ 451 w 451"/>
                  <a:gd name="T117" fmla="*/ 135 h 391"/>
                  <a:gd name="T118" fmla="*/ 450 w 451"/>
                  <a:gd name="T119" fmla="*/ 129 h 391"/>
                  <a:gd name="T120" fmla="*/ 447 w 451"/>
                  <a:gd name="T121" fmla="*/ 124 h 391"/>
                  <a:gd name="T122" fmla="*/ 442 w 451"/>
                  <a:gd name="T123" fmla="*/ 121 h 391"/>
                  <a:gd name="T124" fmla="*/ 436 w 451"/>
                  <a:gd name="T125" fmla="*/ 120 h 3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51" h="391">
                    <a:moveTo>
                      <a:pt x="421" y="239"/>
                    </a:moveTo>
                    <a:lnTo>
                      <a:pt x="376" y="239"/>
                    </a:lnTo>
                    <a:lnTo>
                      <a:pt x="361" y="239"/>
                    </a:lnTo>
                    <a:lnTo>
                      <a:pt x="361" y="150"/>
                    </a:lnTo>
                    <a:lnTo>
                      <a:pt x="376" y="150"/>
                    </a:lnTo>
                    <a:lnTo>
                      <a:pt x="421" y="150"/>
                    </a:lnTo>
                    <a:lnTo>
                      <a:pt x="421" y="239"/>
                    </a:lnTo>
                    <a:close/>
                    <a:moveTo>
                      <a:pt x="361" y="361"/>
                    </a:moveTo>
                    <a:lnTo>
                      <a:pt x="301" y="361"/>
                    </a:lnTo>
                    <a:lnTo>
                      <a:pt x="301" y="269"/>
                    </a:lnTo>
                    <a:lnTo>
                      <a:pt x="361" y="269"/>
                    </a:lnTo>
                    <a:lnTo>
                      <a:pt x="361" y="361"/>
                    </a:lnTo>
                    <a:close/>
                    <a:moveTo>
                      <a:pt x="30" y="269"/>
                    </a:moveTo>
                    <a:lnTo>
                      <a:pt x="75" y="269"/>
                    </a:lnTo>
                    <a:lnTo>
                      <a:pt x="90" y="269"/>
                    </a:lnTo>
                    <a:lnTo>
                      <a:pt x="90" y="361"/>
                    </a:lnTo>
                    <a:lnTo>
                      <a:pt x="30" y="361"/>
                    </a:lnTo>
                    <a:lnTo>
                      <a:pt x="30" y="269"/>
                    </a:lnTo>
                    <a:close/>
                    <a:moveTo>
                      <a:pt x="90" y="150"/>
                    </a:moveTo>
                    <a:lnTo>
                      <a:pt x="150" y="150"/>
                    </a:lnTo>
                    <a:lnTo>
                      <a:pt x="150" y="239"/>
                    </a:lnTo>
                    <a:lnTo>
                      <a:pt x="90" y="239"/>
                    </a:lnTo>
                    <a:lnTo>
                      <a:pt x="90" y="150"/>
                    </a:lnTo>
                    <a:close/>
                    <a:moveTo>
                      <a:pt x="30" y="30"/>
                    </a:moveTo>
                    <a:lnTo>
                      <a:pt x="90" y="30"/>
                    </a:lnTo>
                    <a:lnTo>
                      <a:pt x="90" y="120"/>
                    </a:lnTo>
                    <a:lnTo>
                      <a:pt x="75" y="120"/>
                    </a:lnTo>
                    <a:lnTo>
                      <a:pt x="30" y="120"/>
                    </a:lnTo>
                    <a:lnTo>
                      <a:pt x="30" y="30"/>
                    </a:lnTo>
                    <a:close/>
                    <a:moveTo>
                      <a:pt x="120" y="120"/>
                    </a:moveTo>
                    <a:lnTo>
                      <a:pt x="120" y="30"/>
                    </a:lnTo>
                    <a:lnTo>
                      <a:pt x="271" y="30"/>
                    </a:lnTo>
                    <a:lnTo>
                      <a:pt x="271" y="120"/>
                    </a:lnTo>
                    <a:lnTo>
                      <a:pt x="120" y="120"/>
                    </a:lnTo>
                    <a:close/>
                    <a:moveTo>
                      <a:pt x="271" y="269"/>
                    </a:moveTo>
                    <a:lnTo>
                      <a:pt x="271" y="361"/>
                    </a:lnTo>
                    <a:lnTo>
                      <a:pt x="120" y="361"/>
                    </a:lnTo>
                    <a:lnTo>
                      <a:pt x="120" y="269"/>
                    </a:lnTo>
                    <a:lnTo>
                      <a:pt x="271" y="269"/>
                    </a:lnTo>
                    <a:close/>
                    <a:moveTo>
                      <a:pt x="181" y="239"/>
                    </a:moveTo>
                    <a:lnTo>
                      <a:pt x="181" y="150"/>
                    </a:lnTo>
                    <a:lnTo>
                      <a:pt x="331" y="150"/>
                    </a:lnTo>
                    <a:lnTo>
                      <a:pt x="331" y="239"/>
                    </a:lnTo>
                    <a:lnTo>
                      <a:pt x="181" y="239"/>
                    </a:lnTo>
                    <a:close/>
                    <a:moveTo>
                      <a:pt x="361" y="120"/>
                    </a:moveTo>
                    <a:lnTo>
                      <a:pt x="301" y="120"/>
                    </a:lnTo>
                    <a:lnTo>
                      <a:pt x="301" y="30"/>
                    </a:lnTo>
                    <a:lnTo>
                      <a:pt x="361" y="30"/>
                    </a:lnTo>
                    <a:lnTo>
                      <a:pt x="361" y="120"/>
                    </a:lnTo>
                    <a:close/>
                    <a:moveTo>
                      <a:pt x="436" y="120"/>
                    </a:moveTo>
                    <a:lnTo>
                      <a:pt x="391" y="120"/>
                    </a:lnTo>
                    <a:lnTo>
                      <a:pt x="391" y="15"/>
                    </a:lnTo>
                    <a:lnTo>
                      <a:pt x="391" y="11"/>
                    </a:lnTo>
                    <a:lnTo>
                      <a:pt x="390" y="8"/>
                    </a:lnTo>
                    <a:lnTo>
                      <a:pt x="389" y="6"/>
                    </a:lnTo>
                    <a:lnTo>
                      <a:pt x="387" y="4"/>
                    </a:lnTo>
                    <a:lnTo>
                      <a:pt x="385" y="2"/>
                    </a:lnTo>
                    <a:lnTo>
                      <a:pt x="381" y="1"/>
                    </a:lnTo>
                    <a:lnTo>
                      <a:pt x="379" y="0"/>
                    </a:lnTo>
                    <a:lnTo>
                      <a:pt x="37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8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35"/>
                    </a:lnTo>
                    <a:lnTo>
                      <a:pt x="0" y="138"/>
                    </a:lnTo>
                    <a:lnTo>
                      <a:pt x="1" y="141"/>
                    </a:lnTo>
                    <a:lnTo>
                      <a:pt x="3" y="143"/>
                    </a:lnTo>
                    <a:lnTo>
                      <a:pt x="4" y="145"/>
                    </a:lnTo>
                    <a:lnTo>
                      <a:pt x="6" y="147"/>
                    </a:lnTo>
                    <a:lnTo>
                      <a:pt x="10" y="148"/>
                    </a:lnTo>
                    <a:lnTo>
                      <a:pt x="12" y="150"/>
                    </a:lnTo>
                    <a:lnTo>
                      <a:pt x="15" y="150"/>
                    </a:lnTo>
                    <a:lnTo>
                      <a:pt x="60" y="150"/>
                    </a:lnTo>
                    <a:lnTo>
                      <a:pt x="60" y="239"/>
                    </a:lnTo>
                    <a:lnTo>
                      <a:pt x="15" y="239"/>
                    </a:lnTo>
                    <a:lnTo>
                      <a:pt x="12" y="241"/>
                    </a:lnTo>
                    <a:lnTo>
                      <a:pt x="10" y="241"/>
                    </a:lnTo>
                    <a:lnTo>
                      <a:pt x="6" y="243"/>
                    </a:lnTo>
                    <a:lnTo>
                      <a:pt x="4" y="245"/>
                    </a:lnTo>
                    <a:lnTo>
                      <a:pt x="3" y="247"/>
                    </a:lnTo>
                    <a:lnTo>
                      <a:pt x="1" y="249"/>
                    </a:lnTo>
                    <a:lnTo>
                      <a:pt x="0" y="252"/>
                    </a:lnTo>
                    <a:lnTo>
                      <a:pt x="0" y="254"/>
                    </a:lnTo>
                    <a:lnTo>
                      <a:pt x="0" y="376"/>
                    </a:lnTo>
                    <a:lnTo>
                      <a:pt x="0" y="378"/>
                    </a:lnTo>
                    <a:lnTo>
                      <a:pt x="1" y="381"/>
                    </a:lnTo>
                    <a:lnTo>
                      <a:pt x="3" y="384"/>
                    </a:lnTo>
                    <a:lnTo>
                      <a:pt x="4" y="386"/>
                    </a:lnTo>
                    <a:lnTo>
                      <a:pt x="6" y="387"/>
                    </a:lnTo>
                    <a:lnTo>
                      <a:pt x="10" y="389"/>
                    </a:lnTo>
                    <a:lnTo>
                      <a:pt x="12" y="389"/>
                    </a:lnTo>
                    <a:lnTo>
                      <a:pt x="15" y="391"/>
                    </a:lnTo>
                    <a:lnTo>
                      <a:pt x="376" y="391"/>
                    </a:lnTo>
                    <a:lnTo>
                      <a:pt x="379" y="389"/>
                    </a:lnTo>
                    <a:lnTo>
                      <a:pt x="381" y="389"/>
                    </a:lnTo>
                    <a:lnTo>
                      <a:pt x="385" y="387"/>
                    </a:lnTo>
                    <a:lnTo>
                      <a:pt x="387" y="386"/>
                    </a:lnTo>
                    <a:lnTo>
                      <a:pt x="389" y="384"/>
                    </a:lnTo>
                    <a:lnTo>
                      <a:pt x="390" y="381"/>
                    </a:lnTo>
                    <a:lnTo>
                      <a:pt x="391" y="379"/>
                    </a:lnTo>
                    <a:lnTo>
                      <a:pt x="391" y="376"/>
                    </a:lnTo>
                    <a:lnTo>
                      <a:pt x="391" y="269"/>
                    </a:lnTo>
                    <a:lnTo>
                      <a:pt x="436" y="269"/>
                    </a:lnTo>
                    <a:lnTo>
                      <a:pt x="439" y="269"/>
                    </a:lnTo>
                    <a:lnTo>
                      <a:pt x="442" y="268"/>
                    </a:lnTo>
                    <a:lnTo>
                      <a:pt x="445" y="267"/>
                    </a:lnTo>
                    <a:lnTo>
                      <a:pt x="447" y="265"/>
                    </a:lnTo>
                    <a:lnTo>
                      <a:pt x="449" y="263"/>
                    </a:lnTo>
                    <a:lnTo>
                      <a:pt x="450" y="261"/>
                    </a:lnTo>
                    <a:lnTo>
                      <a:pt x="451" y="258"/>
                    </a:lnTo>
                    <a:lnTo>
                      <a:pt x="451" y="254"/>
                    </a:lnTo>
                    <a:lnTo>
                      <a:pt x="451" y="135"/>
                    </a:lnTo>
                    <a:lnTo>
                      <a:pt x="451" y="131"/>
                    </a:lnTo>
                    <a:lnTo>
                      <a:pt x="450" y="129"/>
                    </a:lnTo>
                    <a:lnTo>
                      <a:pt x="449" y="126"/>
                    </a:lnTo>
                    <a:lnTo>
                      <a:pt x="447" y="124"/>
                    </a:lnTo>
                    <a:lnTo>
                      <a:pt x="445" y="123"/>
                    </a:lnTo>
                    <a:lnTo>
                      <a:pt x="442" y="121"/>
                    </a:lnTo>
                    <a:lnTo>
                      <a:pt x="439" y="120"/>
                    </a:lnTo>
                    <a:lnTo>
                      <a:pt x="436" y="120"/>
                    </a:lnTo>
                    <a:lnTo>
                      <a:pt x="436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B7CCBE10-556C-4590-8E98-F5992E8D8E0D}"/>
                </a:ext>
              </a:extLst>
            </p:cNvPr>
            <p:cNvGrpSpPr/>
            <p:nvPr/>
          </p:nvGrpSpPr>
          <p:grpSpPr>
            <a:xfrm>
              <a:off x="11053837" y="3513931"/>
              <a:ext cx="287338" cy="287338"/>
              <a:chOff x="8736013" y="1925638"/>
              <a:chExt cx="287338" cy="287338"/>
            </a:xfrm>
            <a:solidFill>
              <a:schemeClr val="bg1"/>
            </a:solidFill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grpSpPr>
          <p:sp>
            <p:nvSpPr>
              <p:cNvPr id="90" name="Freeform 97">
                <a:extLst>
                  <a:ext uri="{FF2B5EF4-FFF2-40B4-BE49-F238E27FC236}">
                    <a16:creationId xmlns:a16="http://schemas.microsoft.com/office/drawing/2014/main" id="{5FFA4391-6B0A-4A5A-B258-457CBBBA01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91" name="Freeform 98">
                <a:extLst>
                  <a:ext uri="{FF2B5EF4-FFF2-40B4-BE49-F238E27FC236}">
                    <a16:creationId xmlns:a16="http://schemas.microsoft.com/office/drawing/2014/main" id="{3A3B2313-AE35-4AE9-B636-F879D3B8D9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6FEC6F56-6FC7-4C2A-BC4E-B9E9BF3EE9CC}"/>
                </a:ext>
              </a:extLst>
            </p:cNvPr>
            <p:cNvGrpSpPr/>
            <p:nvPr/>
          </p:nvGrpSpPr>
          <p:grpSpPr>
            <a:xfrm>
              <a:off x="11054631" y="4838331"/>
              <a:ext cx="285750" cy="287338"/>
              <a:chOff x="10455275" y="2498725"/>
              <a:chExt cx="285750" cy="287338"/>
            </a:xfrm>
            <a:solidFill>
              <a:schemeClr val="bg1"/>
            </a:solidFill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grpSpPr>
          <p:sp>
            <p:nvSpPr>
              <p:cNvPr id="93" name="Freeform 214">
                <a:extLst>
                  <a:ext uri="{FF2B5EF4-FFF2-40B4-BE49-F238E27FC236}">
                    <a16:creationId xmlns:a16="http://schemas.microsoft.com/office/drawing/2014/main" id="{C6D1836F-FC60-4ED7-8EB0-6BF5BFDB13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55275" y="2593975"/>
                <a:ext cx="285750" cy="192088"/>
              </a:xfrm>
              <a:custGeom>
                <a:avLst/>
                <a:gdLst>
                  <a:gd name="T0" fmla="*/ 812 w 903"/>
                  <a:gd name="T1" fmla="*/ 30 h 601"/>
                  <a:gd name="T2" fmla="*/ 512 w 903"/>
                  <a:gd name="T3" fmla="*/ 571 h 601"/>
                  <a:gd name="T4" fmla="*/ 602 w 903"/>
                  <a:gd name="T5" fmla="*/ 571 h 601"/>
                  <a:gd name="T6" fmla="*/ 301 w 903"/>
                  <a:gd name="T7" fmla="*/ 210 h 601"/>
                  <a:gd name="T8" fmla="*/ 301 w 903"/>
                  <a:gd name="T9" fmla="*/ 571 h 601"/>
                  <a:gd name="T10" fmla="*/ 181 w 903"/>
                  <a:gd name="T11" fmla="*/ 421 h 601"/>
                  <a:gd name="T12" fmla="*/ 888 w 903"/>
                  <a:gd name="T13" fmla="*/ 571 h 601"/>
                  <a:gd name="T14" fmla="*/ 842 w 903"/>
                  <a:gd name="T15" fmla="*/ 12 h 601"/>
                  <a:gd name="T16" fmla="*/ 838 w 903"/>
                  <a:gd name="T17" fmla="*/ 5 h 601"/>
                  <a:gd name="T18" fmla="*/ 830 w 903"/>
                  <a:gd name="T19" fmla="*/ 0 h 601"/>
                  <a:gd name="T20" fmla="*/ 704 w 903"/>
                  <a:gd name="T21" fmla="*/ 0 h 601"/>
                  <a:gd name="T22" fmla="*/ 696 w 903"/>
                  <a:gd name="T23" fmla="*/ 5 h 601"/>
                  <a:gd name="T24" fmla="*/ 692 w 903"/>
                  <a:gd name="T25" fmla="*/ 12 h 601"/>
                  <a:gd name="T26" fmla="*/ 632 w 903"/>
                  <a:gd name="T27" fmla="*/ 571 h 601"/>
                  <a:gd name="T28" fmla="*/ 631 w 903"/>
                  <a:gd name="T29" fmla="*/ 280 h 601"/>
                  <a:gd name="T30" fmla="*/ 626 w 903"/>
                  <a:gd name="T31" fmla="*/ 274 h 601"/>
                  <a:gd name="T32" fmla="*/ 617 w 903"/>
                  <a:gd name="T33" fmla="*/ 270 h 601"/>
                  <a:gd name="T34" fmla="*/ 491 w 903"/>
                  <a:gd name="T35" fmla="*/ 271 h 601"/>
                  <a:gd name="T36" fmla="*/ 484 w 903"/>
                  <a:gd name="T37" fmla="*/ 278 h 601"/>
                  <a:gd name="T38" fmla="*/ 482 w 903"/>
                  <a:gd name="T39" fmla="*/ 285 h 601"/>
                  <a:gd name="T40" fmla="*/ 421 w 903"/>
                  <a:gd name="T41" fmla="*/ 195 h 601"/>
                  <a:gd name="T42" fmla="*/ 419 w 903"/>
                  <a:gd name="T43" fmla="*/ 187 h 601"/>
                  <a:gd name="T44" fmla="*/ 412 w 903"/>
                  <a:gd name="T45" fmla="*/ 181 h 601"/>
                  <a:gd name="T46" fmla="*/ 286 w 903"/>
                  <a:gd name="T47" fmla="*/ 180 h 601"/>
                  <a:gd name="T48" fmla="*/ 277 w 903"/>
                  <a:gd name="T49" fmla="*/ 184 h 601"/>
                  <a:gd name="T50" fmla="*/ 272 w 903"/>
                  <a:gd name="T51" fmla="*/ 190 h 601"/>
                  <a:gd name="T52" fmla="*/ 271 w 903"/>
                  <a:gd name="T53" fmla="*/ 571 h 601"/>
                  <a:gd name="T54" fmla="*/ 211 w 903"/>
                  <a:gd name="T55" fmla="*/ 403 h 601"/>
                  <a:gd name="T56" fmla="*/ 207 w 903"/>
                  <a:gd name="T57" fmla="*/ 396 h 601"/>
                  <a:gd name="T58" fmla="*/ 199 w 903"/>
                  <a:gd name="T59" fmla="*/ 391 h 601"/>
                  <a:gd name="T60" fmla="*/ 73 w 903"/>
                  <a:gd name="T61" fmla="*/ 391 h 601"/>
                  <a:gd name="T62" fmla="*/ 65 w 903"/>
                  <a:gd name="T63" fmla="*/ 396 h 601"/>
                  <a:gd name="T64" fmla="*/ 61 w 903"/>
                  <a:gd name="T65" fmla="*/ 403 h 601"/>
                  <a:gd name="T66" fmla="*/ 16 w 903"/>
                  <a:gd name="T67" fmla="*/ 571 h 601"/>
                  <a:gd name="T68" fmla="*/ 7 w 903"/>
                  <a:gd name="T69" fmla="*/ 573 h 601"/>
                  <a:gd name="T70" fmla="*/ 2 w 903"/>
                  <a:gd name="T71" fmla="*/ 581 h 601"/>
                  <a:gd name="T72" fmla="*/ 1 w 903"/>
                  <a:gd name="T73" fmla="*/ 590 h 601"/>
                  <a:gd name="T74" fmla="*/ 5 w 903"/>
                  <a:gd name="T75" fmla="*/ 597 h 601"/>
                  <a:gd name="T76" fmla="*/ 13 w 903"/>
                  <a:gd name="T77" fmla="*/ 601 h 601"/>
                  <a:gd name="T78" fmla="*/ 196 w 903"/>
                  <a:gd name="T79" fmla="*/ 601 h 601"/>
                  <a:gd name="T80" fmla="*/ 497 w 903"/>
                  <a:gd name="T81" fmla="*/ 601 h 601"/>
                  <a:gd name="T82" fmla="*/ 827 w 903"/>
                  <a:gd name="T83" fmla="*/ 601 h 601"/>
                  <a:gd name="T84" fmla="*/ 893 w 903"/>
                  <a:gd name="T85" fmla="*/ 600 h 601"/>
                  <a:gd name="T86" fmla="*/ 900 w 903"/>
                  <a:gd name="T87" fmla="*/ 595 h 601"/>
                  <a:gd name="T88" fmla="*/ 903 w 903"/>
                  <a:gd name="T89" fmla="*/ 586 h 601"/>
                  <a:gd name="T90" fmla="*/ 900 w 903"/>
                  <a:gd name="T91" fmla="*/ 578 h 601"/>
                  <a:gd name="T92" fmla="*/ 893 w 903"/>
                  <a:gd name="T93" fmla="*/ 572 h 6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03" h="601">
                    <a:moveTo>
                      <a:pt x="722" y="571"/>
                    </a:moveTo>
                    <a:lnTo>
                      <a:pt x="722" y="30"/>
                    </a:lnTo>
                    <a:lnTo>
                      <a:pt x="812" y="30"/>
                    </a:lnTo>
                    <a:lnTo>
                      <a:pt x="812" y="571"/>
                    </a:lnTo>
                    <a:lnTo>
                      <a:pt x="722" y="571"/>
                    </a:lnTo>
                    <a:close/>
                    <a:moveTo>
                      <a:pt x="512" y="571"/>
                    </a:moveTo>
                    <a:lnTo>
                      <a:pt x="512" y="300"/>
                    </a:lnTo>
                    <a:lnTo>
                      <a:pt x="602" y="300"/>
                    </a:lnTo>
                    <a:lnTo>
                      <a:pt x="602" y="571"/>
                    </a:lnTo>
                    <a:lnTo>
                      <a:pt x="512" y="571"/>
                    </a:lnTo>
                    <a:close/>
                    <a:moveTo>
                      <a:pt x="301" y="571"/>
                    </a:moveTo>
                    <a:lnTo>
                      <a:pt x="301" y="210"/>
                    </a:lnTo>
                    <a:lnTo>
                      <a:pt x="391" y="210"/>
                    </a:lnTo>
                    <a:lnTo>
                      <a:pt x="391" y="571"/>
                    </a:lnTo>
                    <a:lnTo>
                      <a:pt x="301" y="571"/>
                    </a:lnTo>
                    <a:close/>
                    <a:moveTo>
                      <a:pt x="91" y="571"/>
                    </a:moveTo>
                    <a:lnTo>
                      <a:pt x="91" y="421"/>
                    </a:lnTo>
                    <a:lnTo>
                      <a:pt x="181" y="421"/>
                    </a:lnTo>
                    <a:lnTo>
                      <a:pt x="181" y="571"/>
                    </a:lnTo>
                    <a:lnTo>
                      <a:pt x="91" y="571"/>
                    </a:lnTo>
                    <a:close/>
                    <a:moveTo>
                      <a:pt x="888" y="571"/>
                    </a:moveTo>
                    <a:lnTo>
                      <a:pt x="842" y="571"/>
                    </a:lnTo>
                    <a:lnTo>
                      <a:pt x="842" y="15"/>
                    </a:lnTo>
                    <a:lnTo>
                      <a:pt x="842" y="12"/>
                    </a:lnTo>
                    <a:lnTo>
                      <a:pt x="841" y="9"/>
                    </a:lnTo>
                    <a:lnTo>
                      <a:pt x="840" y="7"/>
                    </a:lnTo>
                    <a:lnTo>
                      <a:pt x="838" y="5"/>
                    </a:lnTo>
                    <a:lnTo>
                      <a:pt x="836" y="3"/>
                    </a:lnTo>
                    <a:lnTo>
                      <a:pt x="833" y="1"/>
                    </a:lnTo>
                    <a:lnTo>
                      <a:pt x="830" y="0"/>
                    </a:lnTo>
                    <a:lnTo>
                      <a:pt x="827" y="0"/>
                    </a:lnTo>
                    <a:lnTo>
                      <a:pt x="707" y="0"/>
                    </a:lnTo>
                    <a:lnTo>
                      <a:pt x="704" y="0"/>
                    </a:lnTo>
                    <a:lnTo>
                      <a:pt x="702" y="1"/>
                    </a:lnTo>
                    <a:lnTo>
                      <a:pt x="698" y="3"/>
                    </a:lnTo>
                    <a:lnTo>
                      <a:pt x="696" y="5"/>
                    </a:lnTo>
                    <a:lnTo>
                      <a:pt x="694" y="7"/>
                    </a:lnTo>
                    <a:lnTo>
                      <a:pt x="693" y="9"/>
                    </a:lnTo>
                    <a:lnTo>
                      <a:pt x="692" y="12"/>
                    </a:lnTo>
                    <a:lnTo>
                      <a:pt x="692" y="15"/>
                    </a:lnTo>
                    <a:lnTo>
                      <a:pt x="692" y="571"/>
                    </a:lnTo>
                    <a:lnTo>
                      <a:pt x="632" y="571"/>
                    </a:lnTo>
                    <a:lnTo>
                      <a:pt x="632" y="285"/>
                    </a:lnTo>
                    <a:lnTo>
                      <a:pt x="632" y="283"/>
                    </a:lnTo>
                    <a:lnTo>
                      <a:pt x="631" y="280"/>
                    </a:lnTo>
                    <a:lnTo>
                      <a:pt x="630" y="278"/>
                    </a:lnTo>
                    <a:lnTo>
                      <a:pt x="628" y="275"/>
                    </a:lnTo>
                    <a:lnTo>
                      <a:pt x="626" y="274"/>
                    </a:lnTo>
                    <a:lnTo>
                      <a:pt x="622" y="271"/>
                    </a:lnTo>
                    <a:lnTo>
                      <a:pt x="620" y="271"/>
                    </a:lnTo>
                    <a:lnTo>
                      <a:pt x="617" y="270"/>
                    </a:lnTo>
                    <a:lnTo>
                      <a:pt x="497" y="270"/>
                    </a:lnTo>
                    <a:lnTo>
                      <a:pt x="494" y="271"/>
                    </a:lnTo>
                    <a:lnTo>
                      <a:pt x="491" y="271"/>
                    </a:lnTo>
                    <a:lnTo>
                      <a:pt x="488" y="274"/>
                    </a:lnTo>
                    <a:lnTo>
                      <a:pt x="486" y="275"/>
                    </a:lnTo>
                    <a:lnTo>
                      <a:pt x="484" y="278"/>
                    </a:lnTo>
                    <a:lnTo>
                      <a:pt x="483" y="280"/>
                    </a:lnTo>
                    <a:lnTo>
                      <a:pt x="482" y="283"/>
                    </a:lnTo>
                    <a:lnTo>
                      <a:pt x="482" y="285"/>
                    </a:lnTo>
                    <a:lnTo>
                      <a:pt x="482" y="571"/>
                    </a:lnTo>
                    <a:lnTo>
                      <a:pt x="421" y="571"/>
                    </a:lnTo>
                    <a:lnTo>
                      <a:pt x="421" y="195"/>
                    </a:lnTo>
                    <a:lnTo>
                      <a:pt x="421" y="192"/>
                    </a:lnTo>
                    <a:lnTo>
                      <a:pt x="420" y="190"/>
                    </a:lnTo>
                    <a:lnTo>
                      <a:pt x="419" y="187"/>
                    </a:lnTo>
                    <a:lnTo>
                      <a:pt x="417" y="185"/>
                    </a:lnTo>
                    <a:lnTo>
                      <a:pt x="415" y="184"/>
                    </a:lnTo>
                    <a:lnTo>
                      <a:pt x="412" y="181"/>
                    </a:lnTo>
                    <a:lnTo>
                      <a:pt x="409" y="180"/>
                    </a:lnTo>
                    <a:lnTo>
                      <a:pt x="406" y="180"/>
                    </a:lnTo>
                    <a:lnTo>
                      <a:pt x="286" y="180"/>
                    </a:lnTo>
                    <a:lnTo>
                      <a:pt x="283" y="180"/>
                    </a:lnTo>
                    <a:lnTo>
                      <a:pt x="281" y="181"/>
                    </a:lnTo>
                    <a:lnTo>
                      <a:pt x="277" y="184"/>
                    </a:lnTo>
                    <a:lnTo>
                      <a:pt x="275" y="185"/>
                    </a:lnTo>
                    <a:lnTo>
                      <a:pt x="274" y="187"/>
                    </a:lnTo>
                    <a:lnTo>
                      <a:pt x="272" y="190"/>
                    </a:lnTo>
                    <a:lnTo>
                      <a:pt x="271" y="192"/>
                    </a:lnTo>
                    <a:lnTo>
                      <a:pt x="271" y="195"/>
                    </a:lnTo>
                    <a:lnTo>
                      <a:pt x="271" y="571"/>
                    </a:lnTo>
                    <a:lnTo>
                      <a:pt x="211" y="571"/>
                    </a:lnTo>
                    <a:lnTo>
                      <a:pt x="211" y="406"/>
                    </a:lnTo>
                    <a:lnTo>
                      <a:pt x="211" y="403"/>
                    </a:lnTo>
                    <a:lnTo>
                      <a:pt x="210" y="400"/>
                    </a:lnTo>
                    <a:lnTo>
                      <a:pt x="209" y="398"/>
                    </a:lnTo>
                    <a:lnTo>
                      <a:pt x="207" y="396"/>
                    </a:lnTo>
                    <a:lnTo>
                      <a:pt x="205" y="394"/>
                    </a:lnTo>
                    <a:lnTo>
                      <a:pt x="201" y="392"/>
                    </a:lnTo>
                    <a:lnTo>
                      <a:pt x="199" y="391"/>
                    </a:lnTo>
                    <a:lnTo>
                      <a:pt x="196" y="391"/>
                    </a:lnTo>
                    <a:lnTo>
                      <a:pt x="76" y="391"/>
                    </a:lnTo>
                    <a:lnTo>
                      <a:pt x="73" y="391"/>
                    </a:lnTo>
                    <a:lnTo>
                      <a:pt x="70" y="392"/>
                    </a:lnTo>
                    <a:lnTo>
                      <a:pt x="67" y="394"/>
                    </a:lnTo>
                    <a:lnTo>
                      <a:pt x="65" y="396"/>
                    </a:lnTo>
                    <a:lnTo>
                      <a:pt x="63" y="398"/>
                    </a:lnTo>
                    <a:lnTo>
                      <a:pt x="62" y="400"/>
                    </a:lnTo>
                    <a:lnTo>
                      <a:pt x="61" y="403"/>
                    </a:lnTo>
                    <a:lnTo>
                      <a:pt x="61" y="406"/>
                    </a:lnTo>
                    <a:lnTo>
                      <a:pt x="61" y="571"/>
                    </a:lnTo>
                    <a:lnTo>
                      <a:pt x="16" y="571"/>
                    </a:lnTo>
                    <a:lnTo>
                      <a:pt x="13" y="571"/>
                    </a:lnTo>
                    <a:lnTo>
                      <a:pt x="10" y="572"/>
                    </a:lnTo>
                    <a:lnTo>
                      <a:pt x="7" y="573"/>
                    </a:lnTo>
                    <a:lnTo>
                      <a:pt x="5" y="576"/>
                    </a:lnTo>
                    <a:lnTo>
                      <a:pt x="3" y="578"/>
                    </a:lnTo>
                    <a:lnTo>
                      <a:pt x="2" y="581"/>
                    </a:lnTo>
                    <a:lnTo>
                      <a:pt x="1" y="583"/>
                    </a:lnTo>
                    <a:lnTo>
                      <a:pt x="0" y="586"/>
                    </a:lnTo>
                    <a:lnTo>
                      <a:pt x="1" y="590"/>
                    </a:lnTo>
                    <a:lnTo>
                      <a:pt x="2" y="593"/>
                    </a:lnTo>
                    <a:lnTo>
                      <a:pt x="3" y="595"/>
                    </a:lnTo>
                    <a:lnTo>
                      <a:pt x="5" y="597"/>
                    </a:lnTo>
                    <a:lnTo>
                      <a:pt x="7" y="599"/>
                    </a:lnTo>
                    <a:lnTo>
                      <a:pt x="10" y="600"/>
                    </a:lnTo>
                    <a:lnTo>
                      <a:pt x="13" y="601"/>
                    </a:lnTo>
                    <a:lnTo>
                      <a:pt x="16" y="601"/>
                    </a:lnTo>
                    <a:lnTo>
                      <a:pt x="76" y="601"/>
                    </a:lnTo>
                    <a:lnTo>
                      <a:pt x="196" y="601"/>
                    </a:lnTo>
                    <a:lnTo>
                      <a:pt x="286" y="601"/>
                    </a:lnTo>
                    <a:lnTo>
                      <a:pt x="406" y="601"/>
                    </a:lnTo>
                    <a:lnTo>
                      <a:pt x="497" y="601"/>
                    </a:lnTo>
                    <a:lnTo>
                      <a:pt x="617" y="601"/>
                    </a:lnTo>
                    <a:lnTo>
                      <a:pt x="707" y="601"/>
                    </a:lnTo>
                    <a:lnTo>
                      <a:pt x="827" y="601"/>
                    </a:lnTo>
                    <a:lnTo>
                      <a:pt x="888" y="601"/>
                    </a:lnTo>
                    <a:lnTo>
                      <a:pt x="890" y="601"/>
                    </a:lnTo>
                    <a:lnTo>
                      <a:pt x="893" y="600"/>
                    </a:lnTo>
                    <a:lnTo>
                      <a:pt x="896" y="599"/>
                    </a:lnTo>
                    <a:lnTo>
                      <a:pt x="898" y="597"/>
                    </a:lnTo>
                    <a:lnTo>
                      <a:pt x="900" y="595"/>
                    </a:lnTo>
                    <a:lnTo>
                      <a:pt x="901" y="593"/>
                    </a:lnTo>
                    <a:lnTo>
                      <a:pt x="902" y="590"/>
                    </a:lnTo>
                    <a:lnTo>
                      <a:pt x="903" y="586"/>
                    </a:lnTo>
                    <a:lnTo>
                      <a:pt x="902" y="583"/>
                    </a:lnTo>
                    <a:lnTo>
                      <a:pt x="901" y="581"/>
                    </a:lnTo>
                    <a:lnTo>
                      <a:pt x="900" y="578"/>
                    </a:lnTo>
                    <a:lnTo>
                      <a:pt x="898" y="576"/>
                    </a:lnTo>
                    <a:lnTo>
                      <a:pt x="896" y="573"/>
                    </a:lnTo>
                    <a:lnTo>
                      <a:pt x="893" y="572"/>
                    </a:lnTo>
                    <a:lnTo>
                      <a:pt x="890" y="571"/>
                    </a:lnTo>
                    <a:lnTo>
                      <a:pt x="888" y="5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94" name="Freeform 215">
                <a:extLst>
                  <a:ext uri="{FF2B5EF4-FFF2-40B4-BE49-F238E27FC236}">
                    <a16:creationId xmlns:a16="http://schemas.microsoft.com/office/drawing/2014/main" id="{6D966546-C375-483D-8B15-BB20006D23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74325" y="2498725"/>
                <a:ext cx="252413" cy="157163"/>
              </a:xfrm>
              <a:custGeom>
                <a:avLst/>
                <a:gdLst>
                  <a:gd name="T0" fmla="*/ 83 w 796"/>
                  <a:gd name="T1" fmla="*/ 417 h 496"/>
                  <a:gd name="T2" fmla="*/ 89 w 796"/>
                  <a:gd name="T3" fmla="*/ 431 h 496"/>
                  <a:gd name="T4" fmla="*/ 76 w 796"/>
                  <a:gd name="T5" fmla="*/ 461 h 496"/>
                  <a:gd name="T6" fmla="*/ 43 w 796"/>
                  <a:gd name="T7" fmla="*/ 461 h 496"/>
                  <a:gd name="T8" fmla="*/ 30 w 796"/>
                  <a:gd name="T9" fmla="*/ 430 h 496"/>
                  <a:gd name="T10" fmla="*/ 54 w 796"/>
                  <a:gd name="T11" fmla="*/ 407 h 496"/>
                  <a:gd name="T12" fmla="*/ 302 w 796"/>
                  <a:gd name="T13" fmla="*/ 216 h 496"/>
                  <a:gd name="T14" fmla="*/ 315 w 796"/>
                  <a:gd name="T15" fmla="*/ 247 h 496"/>
                  <a:gd name="T16" fmla="*/ 291 w 796"/>
                  <a:gd name="T17" fmla="*/ 270 h 496"/>
                  <a:gd name="T18" fmla="*/ 260 w 796"/>
                  <a:gd name="T19" fmla="*/ 257 h 496"/>
                  <a:gd name="T20" fmla="*/ 260 w 796"/>
                  <a:gd name="T21" fmla="*/ 224 h 496"/>
                  <a:gd name="T22" fmla="*/ 511 w 796"/>
                  <a:gd name="T23" fmla="*/ 301 h 496"/>
                  <a:gd name="T24" fmla="*/ 530 w 796"/>
                  <a:gd name="T25" fmla="*/ 308 h 496"/>
                  <a:gd name="T26" fmla="*/ 541 w 796"/>
                  <a:gd name="T27" fmla="*/ 331 h 496"/>
                  <a:gd name="T28" fmla="*/ 523 w 796"/>
                  <a:gd name="T29" fmla="*/ 359 h 496"/>
                  <a:gd name="T30" fmla="*/ 490 w 796"/>
                  <a:gd name="T31" fmla="*/ 353 h 496"/>
                  <a:gd name="T32" fmla="*/ 483 w 796"/>
                  <a:gd name="T33" fmla="*/ 320 h 496"/>
                  <a:gd name="T34" fmla="*/ 511 w 796"/>
                  <a:gd name="T35" fmla="*/ 301 h 496"/>
                  <a:gd name="T36" fmla="*/ 757 w 796"/>
                  <a:gd name="T37" fmla="*/ 39 h 496"/>
                  <a:gd name="T38" fmla="*/ 764 w 796"/>
                  <a:gd name="T39" fmla="*/ 72 h 496"/>
                  <a:gd name="T40" fmla="*/ 736 w 796"/>
                  <a:gd name="T41" fmla="*/ 90 h 496"/>
                  <a:gd name="T42" fmla="*/ 708 w 796"/>
                  <a:gd name="T43" fmla="*/ 72 h 496"/>
                  <a:gd name="T44" fmla="*/ 716 w 796"/>
                  <a:gd name="T45" fmla="*/ 39 h 496"/>
                  <a:gd name="T46" fmla="*/ 60 w 796"/>
                  <a:gd name="T47" fmla="*/ 496 h 496"/>
                  <a:gd name="T48" fmla="*/ 93 w 796"/>
                  <a:gd name="T49" fmla="*/ 487 h 496"/>
                  <a:gd name="T50" fmla="*/ 115 w 796"/>
                  <a:gd name="T51" fmla="*/ 460 h 496"/>
                  <a:gd name="T52" fmla="*/ 118 w 796"/>
                  <a:gd name="T53" fmla="*/ 422 h 496"/>
                  <a:gd name="T54" fmla="*/ 276 w 796"/>
                  <a:gd name="T55" fmla="*/ 300 h 496"/>
                  <a:gd name="T56" fmla="*/ 318 w 796"/>
                  <a:gd name="T57" fmla="*/ 291 h 496"/>
                  <a:gd name="T58" fmla="*/ 451 w 796"/>
                  <a:gd name="T59" fmla="*/ 331 h 496"/>
                  <a:gd name="T60" fmla="*/ 461 w 796"/>
                  <a:gd name="T61" fmla="*/ 365 h 496"/>
                  <a:gd name="T62" fmla="*/ 487 w 796"/>
                  <a:gd name="T63" fmla="*/ 387 h 496"/>
                  <a:gd name="T64" fmla="*/ 523 w 796"/>
                  <a:gd name="T65" fmla="*/ 390 h 496"/>
                  <a:gd name="T66" fmla="*/ 554 w 796"/>
                  <a:gd name="T67" fmla="*/ 373 h 496"/>
                  <a:gd name="T68" fmla="*/ 570 w 796"/>
                  <a:gd name="T69" fmla="*/ 343 h 496"/>
                  <a:gd name="T70" fmla="*/ 559 w 796"/>
                  <a:gd name="T71" fmla="*/ 296 h 496"/>
                  <a:gd name="T72" fmla="*/ 742 w 796"/>
                  <a:gd name="T73" fmla="*/ 120 h 496"/>
                  <a:gd name="T74" fmla="*/ 775 w 796"/>
                  <a:gd name="T75" fmla="*/ 106 h 496"/>
                  <a:gd name="T76" fmla="*/ 794 w 796"/>
                  <a:gd name="T77" fmla="*/ 79 h 496"/>
                  <a:gd name="T78" fmla="*/ 794 w 796"/>
                  <a:gd name="T79" fmla="*/ 43 h 496"/>
                  <a:gd name="T80" fmla="*/ 775 w 796"/>
                  <a:gd name="T81" fmla="*/ 14 h 496"/>
                  <a:gd name="T82" fmla="*/ 742 w 796"/>
                  <a:gd name="T83" fmla="*/ 0 h 496"/>
                  <a:gd name="T84" fmla="*/ 708 w 796"/>
                  <a:gd name="T85" fmla="*/ 8 h 496"/>
                  <a:gd name="T86" fmla="*/ 683 w 796"/>
                  <a:gd name="T87" fmla="*/ 31 h 496"/>
                  <a:gd name="T88" fmla="*/ 677 w 796"/>
                  <a:gd name="T89" fmla="*/ 70 h 496"/>
                  <a:gd name="T90" fmla="*/ 524 w 796"/>
                  <a:gd name="T91" fmla="*/ 272 h 496"/>
                  <a:gd name="T92" fmla="*/ 483 w 796"/>
                  <a:gd name="T93" fmla="*/ 278 h 496"/>
                  <a:gd name="T94" fmla="*/ 345 w 796"/>
                  <a:gd name="T95" fmla="*/ 245 h 496"/>
                  <a:gd name="T96" fmla="*/ 339 w 796"/>
                  <a:gd name="T97" fmla="*/ 212 h 496"/>
                  <a:gd name="T98" fmla="*/ 314 w 796"/>
                  <a:gd name="T99" fmla="*/ 188 h 496"/>
                  <a:gd name="T100" fmla="*/ 280 w 796"/>
                  <a:gd name="T101" fmla="*/ 181 h 496"/>
                  <a:gd name="T102" fmla="*/ 247 w 796"/>
                  <a:gd name="T103" fmla="*/ 194 h 496"/>
                  <a:gd name="T104" fmla="*/ 228 w 796"/>
                  <a:gd name="T105" fmla="*/ 223 h 496"/>
                  <a:gd name="T106" fmla="*/ 229 w 796"/>
                  <a:gd name="T107" fmla="*/ 262 h 496"/>
                  <a:gd name="T108" fmla="*/ 60 w 796"/>
                  <a:gd name="T109" fmla="*/ 376 h 496"/>
                  <a:gd name="T110" fmla="*/ 26 w 796"/>
                  <a:gd name="T111" fmla="*/ 387 h 496"/>
                  <a:gd name="T112" fmla="*/ 4 w 796"/>
                  <a:gd name="T113" fmla="*/ 413 h 496"/>
                  <a:gd name="T114" fmla="*/ 1 w 796"/>
                  <a:gd name="T115" fmla="*/ 448 h 496"/>
                  <a:gd name="T116" fmla="*/ 17 w 796"/>
                  <a:gd name="T117" fmla="*/ 479 h 496"/>
                  <a:gd name="T118" fmla="*/ 47 w 796"/>
                  <a:gd name="T119" fmla="*/ 495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96" h="496">
                    <a:moveTo>
                      <a:pt x="60" y="406"/>
                    </a:moveTo>
                    <a:lnTo>
                      <a:pt x="66" y="407"/>
                    </a:lnTo>
                    <a:lnTo>
                      <a:pt x="73" y="410"/>
                    </a:lnTo>
                    <a:lnTo>
                      <a:pt x="78" y="413"/>
                    </a:lnTo>
                    <a:lnTo>
                      <a:pt x="83" y="417"/>
                    </a:lnTo>
                    <a:lnTo>
                      <a:pt x="83" y="417"/>
                    </a:lnTo>
                    <a:lnTo>
                      <a:pt x="83" y="417"/>
                    </a:lnTo>
                    <a:lnTo>
                      <a:pt x="83" y="417"/>
                    </a:lnTo>
                    <a:lnTo>
                      <a:pt x="83" y="417"/>
                    </a:lnTo>
                    <a:lnTo>
                      <a:pt x="86" y="421"/>
                    </a:lnTo>
                    <a:lnTo>
                      <a:pt x="88" y="426"/>
                    </a:lnTo>
                    <a:lnTo>
                      <a:pt x="89" y="431"/>
                    </a:lnTo>
                    <a:lnTo>
                      <a:pt x="90" y="436"/>
                    </a:lnTo>
                    <a:lnTo>
                      <a:pt x="89" y="443"/>
                    </a:lnTo>
                    <a:lnTo>
                      <a:pt x="88" y="448"/>
                    </a:lnTo>
                    <a:lnTo>
                      <a:pt x="85" y="453"/>
                    </a:lnTo>
                    <a:lnTo>
                      <a:pt x="81" y="458"/>
                    </a:lnTo>
                    <a:lnTo>
                      <a:pt x="76" y="461"/>
                    </a:lnTo>
                    <a:lnTo>
                      <a:pt x="72" y="464"/>
                    </a:lnTo>
                    <a:lnTo>
                      <a:pt x="65" y="466"/>
                    </a:lnTo>
                    <a:lnTo>
                      <a:pt x="60" y="466"/>
                    </a:lnTo>
                    <a:lnTo>
                      <a:pt x="54" y="466"/>
                    </a:lnTo>
                    <a:lnTo>
                      <a:pt x="48" y="464"/>
                    </a:lnTo>
                    <a:lnTo>
                      <a:pt x="43" y="461"/>
                    </a:lnTo>
                    <a:lnTo>
                      <a:pt x="39" y="458"/>
                    </a:lnTo>
                    <a:lnTo>
                      <a:pt x="34" y="453"/>
                    </a:lnTo>
                    <a:lnTo>
                      <a:pt x="32" y="448"/>
                    </a:lnTo>
                    <a:lnTo>
                      <a:pt x="30" y="443"/>
                    </a:lnTo>
                    <a:lnTo>
                      <a:pt x="30" y="436"/>
                    </a:lnTo>
                    <a:lnTo>
                      <a:pt x="30" y="430"/>
                    </a:lnTo>
                    <a:lnTo>
                      <a:pt x="32" y="425"/>
                    </a:lnTo>
                    <a:lnTo>
                      <a:pt x="34" y="419"/>
                    </a:lnTo>
                    <a:lnTo>
                      <a:pt x="39" y="415"/>
                    </a:lnTo>
                    <a:lnTo>
                      <a:pt x="43" y="412"/>
                    </a:lnTo>
                    <a:lnTo>
                      <a:pt x="48" y="409"/>
                    </a:lnTo>
                    <a:lnTo>
                      <a:pt x="54" y="407"/>
                    </a:lnTo>
                    <a:lnTo>
                      <a:pt x="60" y="406"/>
                    </a:lnTo>
                    <a:lnTo>
                      <a:pt x="60" y="406"/>
                    </a:lnTo>
                    <a:close/>
                    <a:moveTo>
                      <a:pt x="285" y="211"/>
                    </a:moveTo>
                    <a:lnTo>
                      <a:pt x="291" y="211"/>
                    </a:lnTo>
                    <a:lnTo>
                      <a:pt x="297" y="214"/>
                    </a:lnTo>
                    <a:lnTo>
                      <a:pt x="302" y="216"/>
                    </a:lnTo>
                    <a:lnTo>
                      <a:pt x="306" y="220"/>
                    </a:lnTo>
                    <a:lnTo>
                      <a:pt x="311" y="224"/>
                    </a:lnTo>
                    <a:lnTo>
                      <a:pt x="313" y="230"/>
                    </a:lnTo>
                    <a:lnTo>
                      <a:pt x="315" y="235"/>
                    </a:lnTo>
                    <a:lnTo>
                      <a:pt x="315" y="241"/>
                    </a:lnTo>
                    <a:lnTo>
                      <a:pt x="315" y="247"/>
                    </a:lnTo>
                    <a:lnTo>
                      <a:pt x="313" y="253"/>
                    </a:lnTo>
                    <a:lnTo>
                      <a:pt x="311" y="257"/>
                    </a:lnTo>
                    <a:lnTo>
                      <a:pt x="306" y="262"/>
                    </a:lnTo>
                    <a:lnTo>
                      <a:pt x="302" y="266"/>
                    </a:lnTo>
                    <a:lnTo>
                      <a:pt x="297" y="268"/>
                    </a:lnTo>
                    <a:lnTo>
                      <a:pt x="291" y="270"/>
                    </a:lnTo>
                    <a:lnTo>
                      <a:pt x="285" y="271"/>
                    </a:lnTo>
                    <a:lnTo>
                      <a:pt x="280" y="270"/>
                    </a:lnTo>
                    <a:lnTo>
                      <a:pt x="273" y="268"/>
                    </a:lnTo>
                    <a:lnTo>
                      <a:pt x="269" y="266"/>
                    </a:lnTo>
                    <a:lnTo>
                      <a:pt x="264" y="262"/>
                    </a:lnTo>
                    <a:lnTo>
                      <a:pt x="260" y="257"/>
                    </a:lnTo>
                    <a:lnTo>
                      <a:pt x="257" y="253"/>
                    </a:lnTo>
                    <a:lnTo>
                      <a:pt x="256" y="247"/>
                    </a:lnTo>
                    <a:lnTo>
                      <a:pt x="255" y="241"/>
                    </a:lnTo>
                    <a:lnTo>
                      <a:pt x="256" y="235"/>
                    </a:lnTo>
                    <a:lnTo>
                      <a:pt x="257" y="230"/>
                    </a:lnTo>
                    <a:lnTo>
                      <a:pt x="260" y="224"/>
                    </a:lnTo>
                    <a:lnTo>
                      <a:pt x="264" y="220"/>
                    </a:lnTo>
                    <a:lnTo>
                      <a:pt x="269" y="216"/>
                    </a:lnTo>
                    <a:lnTo>
                      <a:pt x="273" y="214"/>
                    </a:lnTo>
                    <a:lnTo>
                      <a:pt x="280" y="211"/>
                    </a:lnTo>
                    <a:lnTo>
                      <a:pt x="285" y="211"/>
                    </a:lnTo>
                    <a:close/>
                    <a:moveTo>
                      <a:pt x="511" y="301"/>
                    </a:moveTo>
                    <a:lnTo>
                      <a:pt x="516" y="301"/>
                    </a:lnTo>
                    <a:lnTo>
                      <a:pt x="521" y="302"/>
                    </a:lnTo>
                    <a:lnTo>
                      <a:pt x="526" y="306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5" y="313"/>
                    </a:lnTo>
                    <a:lnTo>
                      <a:pt x="538" y="319"/>
                    </a:lnTo>
                    <a:lnTo>
                      <a:pt x="540" y="325"/>
                    </a:lnTo>
                    <a:lnTo>
                      <a:pt x="541" y="331"/>
                    </a:lnTo>
                    <a:lnTo>
                      <a:pt x="540" y="337"/>
                    </a:lnTo>
                    <a:lnTo>
                      <a:pt x="539" y="343"/>
                    </a:lnTo>
                    <a:lnTo>
                      <a:pt x="536" y="347"/>
                    </a:lnTo>
                    <a:lnTo>
                      <a:pt x="532" y="353"/>
                    </a:lnTo>
                    <a:lnTo>
                      <a:pt x="527" y="356"/>
                    </a:lnTo>
                    <a:lnTo>
                      <a:pt x="523" y="359"/>
                    </a:lnTo>
                    <a:lnTo>
                      <a:pt x="516" y="360"/>
                    </a:lnTo>
                    <a:lnTo>
                      <a:pt x="511" y="361"/>
                    </a:lnTo>
                    <a:lnTo>
                      <a:pt x="505" y="360"/>
                    </a:lnTo>
                    <a:lnTo>
                      <a:pt x="499" y="359"/>
                    </a:lnTo>
                    <a:lnTo>
                      <a:pt x="494" y="356"/>
                    </a:lnTo>
                    <a:lnTo>
                      <a:pt x="490" y="353"/>
                    </a:lnTo>
                    <a:lnTo>
                      <a:pt x="486" y="349"/>
                    </a:lnTo>
                    <a:lnTo>
                      <a:pt x="483" y="343"/>
                    </a:lnTo>
                    <a:lnTo>
                      <a:pt x="481" y="337"/>
                    </a:lnTo>
                    <a:lnTo>
                      <a:pt x="481" y="331"/>
                    </a:lnTo>
                    <a:lnTo>
                      <a:pt x="481" y="325"/>
                    </a:lnTo>
                    <a:lnTo>
                      <a:pt x="483" y="320"/>
                    </a:lnTo>
                    <a:lnTo>
                      <a:pt x="486" y="314"/>
                    </a:lnTo>
                    <a:lnTo>
                      <a:pt x="490" y="310"/>
                    </a:lnTo>
                    <a:lnTo>
                      <a:pt x="494" y="307"/>
                    </a:lnTo>
                    <a:lnTo>
                      <a:pt x="499" y="304"/>
                    </a:lnTo>
                    <a:lnTo>
                      <a:pt x="505" y="301"/>
                    </a:lnTo>
                    <a:lnTo>
                      <a:pt x="511" y="301"/>
                    </a:lnTo>
                    <a:lnTo>
                      <a:pt x="511" y="301"/>
                    </a:lnTo>
                    <a:close/>
                    <a:moveTo>
                      <a:pt x="736" y="30"/>
                    </a:moveTo>
                    <a:lnTo>
                      <a:pt x="742" y="31"/>
                    </a:lnTo>
                    <a:lnTo>
                      <a:pt x="748" y="33"/>
                    </a:lnTo>
                    <a:lnTo>
                      <a:pt x="753" y="36"/>
                    </a:lnTo>
                    <a:lnTo>
                      <a:pt x="757" y="39"/>
                    </a:lnTo>
                    <a:lnTo>
                      <a:pt x="762" y="43"/>
                    </a:lnTo>
                    <a:lnTo>
                      <a:pt x="764" y="49"/>
                    </a:lnTo>
                    <a:lnTo>
                      <a:pt x="766" y="55"/>
                    </a:lnTo>
                    <a:lnTo>
                      <a:pt x="766" y="60"/>
                    </a:lnTo>
                    <a:lnTo>
                      <a:pt x="766" y="67"/>
                    </a:lnTo>
                    <a:lnTo>
                      <a:pt x="764" y="72"/>
                    </a:lnTo>
                    <a:lnTo>
                      <a:pt x="762" y="78"/>
                    </a:lnTo>
                    <a:lnTo>
                      <a:pt x="757" y="82"/>
                    </a:lnTo>
                    <a:lnTo>
                      <a:pt x="753" y="85"/>
                    </a:lnTo>
                    <a:lnTo>
                      <a:pt x="748" y="88"/>
                    </a:lnTo>
                    <a:lnTo>
                      <a:pt x="742" y="90"/>
                    </a:lnTo>
                    <a:lnTo>
                      <a:pt x="736" y="90"/>
                    </a:lnTo>
                    <a:lnTo>
                      <a:pt x="731" y="90"/>
                    </a:lnTo>
                    <a:lnTo>
                      <a:pt x="724" y="88"/>
                    </a:lnTo>
                    <a:lnTo>
                      <a:pt x="720" y="85"/>
                    </a:lnTo>
                    <a:lnTo>
                      <a:pt x="716" y="82"/>
                    </a:lnTo>
                    <a:lnTo>
                      <a:pt x="711" y="78"/>
                    </a:lnTo>
                    <a:lnTo>
                      <a:pt x="708" y="72"/>
                    </a:lnTo>
                    <a:lnTo>
                      <a:pt x="707" y="67"/>
                    </a:lnTo>
                    <a:lnTo>
                      <a:pt x="706" y="60"/>
                    </a:lnTo>
                    <a:lnTo>
                      <a:pt x="707" y="55"/>
                    </a:lnTo>
                    <a:lnTo>
                      <a:pt x="708" y="49"/>
                    </a:lnTo>
                    <a:lnTo>
                      <a:pt x="711" y="43"/>
                    </a:lnTo>
                    <a:lnTo>
                      <a:pt x="716" y="39"/>
                    </a:lnTo>
                    <a:lnTo>
                      <a:pt x="720" y="36"/>
                    </a:lnTo>
                    <a:lnTo>
                      <a:pt x="724" y="33"/>
                    </a:lnTo>
                    <a:lnTo>
                      <a:pt x="731" y="31"/>
                    </a:lnTo>
                    <a:lnTo>
                      <a:pt x="736" y="30"/>
                    </a:lnTo>
                    <a:lnTo>
                      <a:pt x="736" y="30"/>
                    </a:lnTo>
                    <a:close/>
                    <a:moveTo>
                      <a:pt x="60" y="496"/>
                    </a:moveTo>
                    <a:lnTo>
                      <a:pt x="66" y="496"/>
                    </a:lnTo>
                    <a:lnTo>
                      <a:pt x="72" y="495"/>
                    </a:lnTo>
                    <a:lnTo>
                      <a:pt x="77" y="494"/>
                    </a:lnTo>
                    <a:lnTo>
                      <a:pt x="84" y="492"/>
                    </a:lnTo>
                    <a:lnTo>
                      <a:pt x="89" y="489"/>
                    </a:lnTo>
                    <a:lnTo>
                      <a:pt x="93" y="487"/>
                    </a:lnTo>
                    <a:lnTo>
                      <a:pt x="98" y="482"/>
                    </a:lnTo>
                    <a:lnTo>
                      <a:pt x="102" y="479"/>
                    </a:lnTo>
                    <a:lnTo>
                      <a:pt x="106" y="475"/>
                    </a:lnTo>
                    <a:lnTo>
                      <a:pt x="109" y="470"/>
                    </a:lnTo>
                    <a:lnTo>
                      <a:pt x="113" y="465"/>
                    </a:lnTo>
                    <a:lnTo>
                      <a:pt x="115" y="460"/>
                    </a:lnTo>
                    <a:lnTo>
                      <a:pt x="117" y="455"/>
                    </a:lnTo>
                    <a:lnTo>
                      <a:pt x="119" y="448"/>
                    </a:lnTo>
                    <a:lnTo>
                      <a:pt x="120" y="443"/>
                    </a:lnTo>
                    <a:lnTo>
                      <a:pt x="120" y="436"/>
                    </a:lnTo>
                    <a:lnTo>
                      <a:pt x="119" y="429"/>
                    </a:lnTo>
                    <a:lnTo>
                      <a:pt x="118" y="422"/>
                    </a:lnTo>
                    <a:lnTo>
                      <a:pt x="116" y="416"/>
                    </a:lnTo>
                    <a:lnTo>
                      <a:pt x="114" y="410"/>
                    </a:lnTo>
                    <a:lnTo>
                      <a:pt x="251" y="291"/>
                    </a:lnTo>
                    <a:lnTo>
                      <a:pt x="259" y="295"/>
                    </a:lnTo>
                    <a:lnTo>
                      <a:pt x="267" y="298"/>
                    </a:lnTo>
                    <a:lnTo>
                      <a:pt x="276" y="300"/>
                    </a:lnTo>
                    <a:lnTo>
                      <a:pt x="285" y="301"/>
                    </a:lnTo>
                    <a:lnTo>
                      <a:pt x="292" y="300"/>
                    </a:lnTo>
                    <a:lnTo>
                      <a:pt x="300" y="299"/>
                    </a:lnTo>
                    <a:lnTo>
                      <a:pt x="306" y="297"/>
                    </a:lnTo>
                    <a:lnTo>
                      <a:pt x="313" y="294"/>
                    </a:lnTo>
                    <a:lnTo>
                      <a:pt x="318" y="291"/>
                    </a:lnTo>
                    <a:lnTo>
                      <a:pt x="325" y="286"/>
                    </a:lnTo>
                    <a:lnTo>
                      <a:pt x="329" y="282"/>
                    </a:lnTo>
                    <a:lnTo>
                      <a:pt x="333" y="277"/>
                    </a:lnTo>
                    <a:lnTo>
                      <a:pt x="451" y="324"/>
                    </a:lnTo>
                    <a:lnTo>
                      <a:pt x="451" y="327"/>
                    </a:lnTo>
                    <a:lnTo>
                      <a:pt x="451" y="331"/>
                    </a:lnTo>
                    <a:lnTo>
                      <a:pt x="451" y="338"/>
                    </a:lnTo>
                    <a:lnTo>
                      <a:pt x="452" y="343"/>
                    </a:lnTo>
                    <a:lnTo>
                      <a:pt x="453" y="350"/>
                    </a:lnTo>
                    <a:lnTo>
                      <a:pt x="455" y="355"/>
                    </a:lnTo>
                    <a:lnTo>
                      <a:pt x="457" y="360"/>
                    </a:lnTo>
                    <a:lnTo>
                      <a:pt x="461" y="365"/>
                    </a:lnTo>
                    <a:lnTo>
                      <a:pt x="464" y="370"/>
                    </a:lnTo>
                    <a:lnTo>
                      <a:pt x="468" y="374"/>
                    </a:lnTo>
                    <a:lnTo>
                      <a:pt x="472" y="377"/>
                    </a:lnTo>
                    <a:lnTo>
                      <a:pt x="477" y="381"/>
                    </a:lnTo>
                    <a:lnTo>
                      <a:pt x="482" y="384"/>
                    </a:lnTo>
                    <a:lnTo>
                      <a:pt x="487" y="387"/>
                    </a:lnTo>
                    <a:lnTo>
                      <a:pt x="493" y="388"/>
                    </a:lnTo>
                    <a:lnTo>
                      <a:pt x="498" y="390"/>
                    </a:lnTo>
                    <a:lnTo>
                      <a:pt x="505" y="391"/>
                    </a:lnTo>
                    <a:lnTo>
                      <a:pt x="511" y="391"/>
                    </a:lnTo>
                    <a:lnTo>
                      <a:pt x="517" y="391"/>
                    </a:lnTo>
                    <a:lnTo>
                      <a:pt x="523" y="390"/>
                    </a:lnTo>
                    <a:lnTo>
                      <a:pt x="529" y="388"/>
                    </a:lnTo>
                    <a:lnTo>
                      <a:pt x="535" y="387"/>
                    </a:lnTo>
                    <a:lnTo>
                      <a:pt x="540" y="384"/>
                    </a:lnTo>
                    <a:lnTo>
                      <a:pt x="544" y="381"/>
                    </a:lnTo>
                    <a:lnTo>
                      <a:pt x="550" y="377"/>
                    </a:lnTo>
                    <a:lnTo>
                      <a:pt x="554" y="373"/>
                    </a:lnTo>
                    <a:lnTo>
                      <a:pt x="557" y="370"/>
                    </a:lnTo>
                    <a:lnTo>
                      <a:pt x="560" y="365"/>
                    </a:lnTo>
                    <a:lnTo>
                      <a:pt x="564" y="360"/>
                    </a:lnTo>
                    <a:lnTo>
                      <a:pt x="567" y="355"/>
                    </a:lnTo>
                    <a:lnTo>
                      <a:pt x="568" y="350"/>
                    </a:lnTo>
                    <a:lnTo>
                      <a:pt x="570" y="343"/>
                    </a:lnTo>
                    <a:lnTo>
                      <a:pt x="571" y="338"/>
                    </a:lnTo>
                    <a:lnTo>
                      <a:pt x="571" y="331"/>
                    </a:lnTo>
                    <a:lnTo>
                      <a:pt x="570" y="322"/>
                    </a:lnTo>
                    <a:lnTo>
                      <a:pt x="568" y="312"/>
                    </a:lnTo>
                    <a:lnTo>
                      <a:pt x="565" y="304"/>
                    </a:lnTo>
                    <a:lnTo>
                      <a:pt x="559" y="296"/>
                    </a:lnTo>
                    <a:lnTo>
                      <a:pt x="710" y="115"/>
                    </a:lnTo>
                    <a:lnTo>
                      <a:pt x="717" y="117"/>
                    </a:lnTo>
                    <a:lnTo>
                      <a:pt x="723" y="119"/>
                    </a:lnTo>
                    <a:lnTo>
                      <a:pt x="730" y="120"/>
                    </a:lnTo>
                    <a:lnTo>
                      <a:pt x="736" y="120"/>
                    </a:lnTo>
                    <a:lnTo>
                      <a:pt x="742" y="120"/>
                    </a:lnTo>
                    <a:lnTo>
                      <a:pt x="749" y="119"/>
                    </a:lnTo>
                    <a:lnTo>
                      <a:pt x="754" y="118"/>
                    </a:lnTo>
                    <a:lnTo>
                      <a:pt x="760" y="116"/>
                    </a:lnTo>
                    <a:lnTo>
                      <a:pt x="765" y="114"/>
                    </a:lnTo>
                    <a:lnTo>
                      <a:pt x="770" y="111"/>
                    </a:lnTo>
                    <a:lnTo>
                      <a:pt x="775" y="106"/>
                    </a:lnTo>
                    <a:lnTo>
                      <a:pt x="779" y="103"/>
                    </a:lnTo>
                    <a:lnTo>
                      <a:pt x="783" y="99"/>
                    </a:lnTo>
                    <a:lnTo>
                      <a:pt x="786" y="95"/>
                    </a:lnTo>
                    <a:lnTo>
                      <a:pt x="790" y="89"/>
                    </a:lnTo>
                    <a:lnTo>
                      <a:pt x="792" y="84"/>
                    </a:lnTo>
                    <a:lnTo>
                      <a:pt x="794" y="79"/>
                    </a:lnTo>
                    <a:lnTo>
                      <a:pt x="795" y="73"/>
                    </a:lnTo>
                    <a:lnTo>
                      <a:pt x="796" y="67"/>
                    </a:lnTo>
                    <a:lnTo>
                      <a:pt x="796" y="60"/>
                    </a:lnTo>
                    <a:lnTo>
                      <a:pt x="796" y="54"/>
                    </a:lnTo>
                    <a:lnTo>
                      <a:pt x="795" y="49"/>
                    </a:lnTo>
                    <a:lnTo>
                      <a:pt x="794" y="43"/>
                    </a:lnTo>
                    <a:lnTo>
                      <a:pt x="792" y="37"/>
                    </a:lnTo>
                    <a:lnTo>
                      <a:pt x="790" y="31"/>
                    </a:lnTo>
                    <a:lnTo>
                      <a:pt x="786" y="27"/>
                    </a:lnTo>
                    <a:lnTo>
                      <a:pt x="783" y="23"/>
                    </a:lnTo>
                    <a:lnTo>
                      <a:pt x="779" y="19"/>
                    </a:lnTo>
                    <a:lnTo>
                      <a:pt x="775" y="14"/>
                    </a:lnTo>
                    <a:lnTo>
                      <a:pt x="770" y="11"/>
                    </a:lnTo>
                    <a:lnTo>
                      <a:pt x="765" y="8"/>
                    </a:lnTo>
                    <a:lnTo>
                      <a:pt x="760" y="5"/>
                    </a:lnTo>
                    <a:lnTo>
                      <a:pt x="754" y="4"/>
                    </a:lnTo>
                    <a:lnTo>
                      <a:pt x="749" y="1"/>
                    </a:lnTo>
                    <a:lnTo>
                      <a:pt x="742" y="0"/>
                    </a:lnTo>
                    <a:lnTo>
                      <a:pt x="736" y="0"/>
                    </a:lnTo>
                    <a:lnTo>
                      <a:pt x="731" y="0"/>
                    </a:lnTo>
                    <a:lnTo>
                      <a:pt x="724" y="1"/>
                    </a:lnTo>
                    <a:lnTo>
                      <a:pt x="719" y="4"/>
                    </a:lnTo>
                    <a:lnTo>
                      <a:pt x="712" y="5"/>
                    </a:lnTo>
                    <a:lnTo>
                      <a:pt x="708" y="8"/>
                    </a:lnTo>
                    <a:lnTo>
                      <a:pt x="703" y="11"/>
                    </a:lnTo>
                    <a:lnTo>
                      <a:pt x="698" y="14"/>
                    </a:lnTo>
                    <a:lnTo>
                      <a:pt x="694" y="19"/>
                    </a:lnTo>
                    <a:lnTo>
                      <a:pt x="690" y="22"/>
                    </a:lnTo>
                    <a:lnTo>
                      <a:pt x="687" y="27"/>
                    </a:lnTo>
                    <a:lnTo>
                      <a:pt x="683" y="31"/>
                    </a:lnTo>
                    <a:lnTo>
                      <a:pt x="681" y="37"/>
                    </a:lnTo>
                    <a:lnTo>
                      <a:pt x="679" y="43"/>
                    </a:lnTo>
                    <a:lnTo>
                      <a:pt x="677" y="49"/>
                    </a:lnTo>
                    <a:lnTo>
                      <a:pt x="676" y="54"/>
                    </a:lnTo>
                    <a:lnTo>
                      <a:pt x="676" y="60"/>
                    </a:lnTo>
                    <a:lnTo>
                      <a:pt x="677" y="70"/>
                    </a:lnTo>
                    <a:lnTo>
                      <a:pt x="679" y="80"/>
                    </a:lnTo>
                    <a:lnTo>
                      <a:pt x="682" y="88"/>
                    </a:lnTo>
                    <a:lnTo>
                      <a:pt x="688" y="96"/>
                    </a:lnTo>
                    <a:lnTo>
                      <a:pt x="537" y="277"/>
                    </a:lnTo>
                    <a:lnTo>
                      <a:pt x="530" y="275"/>
                    </a:lnTo>
                    <a:lnTo>
                      <a:pt x="524" y="272"/>
                    </a:lnTo>
                    <a:lnTo>
                      <a:pt x="517" y="271"/>
                    </a:lnTo>
                    <a:lnTo>
                      <a:pt x="511" y="271"/>
                    </a:lnTo>
                    <a:lnTo>
                      <a:pt x="504" y="271"/>
                    </a:lnTo>
                    <a:lnTo>
                      <a:pt x="496" y="272"/>
                    </a:lnTo>
                    <a:lnTo>
                      <a:pt x="490" y="275"/>
                    </a:lnTo>
                    <a:lnTo>
                      <a:pt x="483" y="278"/>
                    </a:lnTo>
                    <a:lnTo>
                      <a:pt x="478" y="281"/>
                    </a:lnTo>
                    <a:lnTo>
                      <a:pt x="472" y="285"/>
                    </a:lnTo>
                    <a:lnTo>
                      <a:pt x="467" y="291"/>
                    </a:lnTo>
                    <a:lnTo>
                      <a:pt x="463" y="296"/>
                    </a:lnTo>
                    <a:lnTo>
                      <a:pt x="345" y="249"/>
                    </a:lnTo>
                    <a:lnTo>
                      <a:pt x="345" y="245"/>
                    </a:lnTo>
                    <a:lnTo>
                      <a:pt x="345" y="241"/>
                    </a:lnTo>
                    <a:lnTo>
                      <a:pt x="345" y="235"/>
                    </a:lnTo>
                    <a:lnTo>
                      <a:pt x="344" y="229"/>
                    </a:lnTo>
                    <a:lnTo>
                      <a:pt x="343" y="223"/>
                    </a:lnTo>
                    <a:lnTo>
                      <a:pt x="341" y="218"/>
                    </a:lnTo>
                    <a:lnTo>
                      <a:pt x="339" y="212"/>
                    </a:lnTo>
                    <a:lnTo>
                      <a:pt x="335" y="207"/>
                    </a:lnTo>
                    <a:lnTo>
                      <a:pt x="332" y="203"/>
                    </a:lnTo>
                    <a:lnTo>
                      <a:pt x="328" y="199"/>
                    </a:lnTo>
                    <a:lnTo>
                      <a:pt x="324" y="194"/>
                    </a:lnTo>
                    <a:lnTo>
                      <a:pt x="319" y="191"/>
                    </a:lnTo>
                    <a:lnTo>
                      <a:pt x="314" y="188"/>
                    </a:lnTo>
                    <a:lnTo>
                      <a:pt x="309" y="186"/>
                    </a:lnTo>
                    <a:lnTo>
                      <a:pt x="303" y="184"/>
                    </a:lnTo>
                    <a:lnTo>
                      <a:pt x="298" y="182"/>
                    </a:lnTo>
                    <a:lnTo>
                      <a:pt x="291" y="181"/>
                    </a:lnTo>
                    <a:lnTo>
                      <a:pt x="285" y="180"/>
                    </a:lnTo>
                    <a:lnTo>
                      <a:pt x="280" y="181"/>
                    </a:lnTo>
                    <a:lnTo>
                      <a:pt x="273" y="182"/>
                    </a:lnTo>
                    <a:lnTo>
                      <a:pt x="268" y="184"/>
                    </a:lnTo>
                    <a:lnTo>
                      <a:pt x="261" y="186"/>
                    </a:lnTo>
                    <a:lnTo>
                      <a:pt x="257" y="188"/>
                    </a:lnTo>
                    <a:lnTo>
                      <a:pt x="252" y="191"/>
                    </a:lnTo>
                    <a:lnTo>
                      <a:pt x="247" y="194"/>
                    </a:lnTo>
                    <a:lnTo>
                      <a:pt x="243" y="199"/>
                    </a:lnTo>
                    <a:lnTo>
                      <a:pt x="239" y="203"/>
                    </a:lnTo>
                    <a:lnTo>
                      <a:pt x="236" y="207"/>
                    </a:lnTo>
                    <a:lnTo>
                      <a:pt x="232" y="212"/>
                    </a:lnTo>
                    <a:lnTo>
                      <a:pt x="230" y="218"/>
                    </a:lnTo>
                    <a:lnTo>
                      <a:pt x="228" y="223"/>
                    </a:lnTo>
                    <a:lnTo>
                      <a:pt x="226" y="229"/>
                    </a:lnTo>
                    <a:lnTo>
                      <a:pt x="225" y="235"/>
                    </a:lnTo>
                    <a:lnTo>
                      <a:pt x="225" y="241"/>
                    </a:lnTo>
                    <a:lnTo>
                      <a:pt x="226" y="248"/>
                    </a:lnTo>
                    <a:lnTo>
                      <a:pt x="227" y="255"/>
                    </a:lnTo>
                    <a:lnTo>
                      <a:pt x="229" y="262"/>
                    </a:lnTo>
                    <a:lnTo>
                      <a:pt x="231" y="267"/>
                    </a:lnTo>
                    <a:lnTo>
                      <a:pt x="94" y="387"/>
                    </a:lnTo>
                    <a:lnTo>
                      <a:pt x="86" y="383"/>
                    </a:lnTo>
                    <a:lnTo>
                      <a:pt x="78" y="380"/>
                    </a:lnTo>
                    <a:lnTo>
                      <a:pt x="69" y="377"/>
                    </a:lnTo>
                    <a:lnTo>
                      <a:pt x="60" y="376"/>
                    </a:lnTo>
                    <a:lnTo>
                      <a:pt x="54" y="376"/>
                    </a:lnTo>
                    <a:lnTo>
                      <a:pt x="47" y="377"/>
                    </a:lnTo>
                    <a:lnTo>
                      <a:pt x="42" y="379"/>
                    </a:lnTo>
                    <a:lnTo>
                      <a:pt x="36" y="381"/>
                    </a:lnTo>
                    <a:lnTo>
                      <a:pt x="31" y="384"/>
                    </a:lnTo>
                    <a:lnTo>
                      <a:pt x="26" y="387"/>
                    </a:lnTo>
                    <a:lnTo>
                      <a:pt x="21" y="390"/>
                    </a:lnTo>
                    <a:lnTo>
                      <a:pt x="17" y="394"/>
                    </a:lnTo>
                    <a:lnTo>
                      <a:pt x="13" y="398"/>
                    </a:lnTo>
                    <a:lnTo>
                      <a:pt x="10" y="403"/>
                    </a:lnTo>
                    <a:lnTo>
                      <a:pt x="6" y="407"/>
                    </a:lnTo>
                    <a:lnTo>
                      <a:pt x="4" y="413"/>
                    </a:lnTo>
                    <a:lnTo>
                      <a:pt x="2" y="418"/>
                    </a:lnTo>
                    <a:lnTo>
                      <a:pt x="1" y="425"/>
                    </a:lnTo>
                    <a:lnTo>
                      <a:pt x="0" y="430"/>
                    </a:lnTo>
                    <a:lnTo>
                      <a:pt x="0" y="436"/>
                    </a:lnTo>
                    <a:lnTo>
                      <a:pt x="0" y="443"/>
                    </a:lnTo>
                    <a:lnTo>
                      <a:pt x="1" y="448"/>
                    </a:lnTo>
                    <a:lnTo>
                      <a:pt x="2" y="455"/>
                    </a:lnTo>
                    <a:lnTo>
                      <a:pt x="4" y="460"/>
                    </a:lnTo>
                    <a:lnTo>
                      <a:pt x="6" y="465"/>
                    </a:lnTo>
                    <a:lnTo>
                      <a:pt x="10" y="470"/>
                    </a:lnTo>
                    <a:lnTo>
                      <a:pt x="13" y="475"/>
                    </a:lnTo>
                    <a:lnTo>
                      <a:pt x="17" y="479"/>
                    </a:lnTo>
                    <a:lnTo>
                      <a:pt x="21" y="482"/>
                    </a:lnTo>
                    <a:lnTo>
                      <a:pt x="26" y="487"/>
                    </a:lnTo>
                    <a:lnTo>
                      <a:pt x="31" y="489"/>
                    </a:lnTo>
                    <a:lnTo>
                      <a:pt x="36" y="492"/>
                    </a:lnTo>
                    <a:lnTo>
                      <a:pt x="42" y="494"/>
                    </a:lnTo>
                    <a:lnTo>
                      <a:pt x="47" y="495"/>
                    </a:lnTo>
                    <a:lnTo>
                      <a:pt x="54" y="496"/>
                    </a:lnTo>
                    <a:lnTo>
                      <a:pt x="60" y="4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0896646-DB3B-4A95-B9A5-CFF00BDBEF68}"/>
              </a:ext>
            </a:extLst>
          </p:cNvPr>
          <p:cNvGrpSpPr/>
          <p:nvPr/>
        </p:nvGrpSpPr>
        <p:grpSpPr>
          <a:xfrm>
            <a:off x="-23158" y="1962467"/>
            <a:ext cx="5738813" cy="3465887"/>
            <a:chOff x="5881688" y="1923693"/>
            <a:chExt cx="5738813" cy="3465887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D5E2C66-F9F5-489F-B5E9-24DC1482364B}"/>
                </a:ext>
              </a:extLst>
            </p:cNvPr>
            <p:cNvSpPr/>
            <p:nvPr/>
          </p:nvSpPr>
          <p:spPr>
            <a:xfrm>
              <a:off x="6096001" y="1923693"/>
              <a:ext cx="5524500" cy="815160"/>
            </a:xfrm>
            <a:prstGeom prst="roundRect">
              <a:avLst>
                <a:gd name="adj" fmla="val 50000"/>
              </a:avLst>
            </a:prstGeom>
            <a:noFill/>
            <a:ln w="12700">
              <a:solidFill>
                <a:srgbClr val="39376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4572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72C4"/>
                </a:buClr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reation of a Govt. of India cryptocurrency "Indian Coin".</a:t>
              </a: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90498FAB-97F3-47EE-94E0-49A2A72EA6A8}"/>
                </a:ext>
              </a:extLst>
            </p:cNvPr>
            <p:cNvSpPr/>
            <p:nvPr/>
          </p:nvSpPr>
          <p:spPr>
            <a:xfrm>
              <a:off x="6096001" y="3250020"/>
              <a:ext cx="5524500" cy="815160"/>
            </a:xfrm>
            <a:prstGeom prst="roundRect">
              <a:avLst>
                <a:gd name="adj" fmla="val 50000"/>
              </a:avLst>
            </a:prstGeom>
            <a:noFill/>
            <a:ln w="12700">
              <a:solidFill>
                <a:srgbClr val="E4859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4572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72C4"/>
                </a:buClr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uthentication of all transaction to ensure security and transparency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6FFBE08B-C498-4E5D-9592-0110124C4897}"/>
                </a:ext>
              </a:extLst>
            </p:cNvPr>
            <p:cNvSpPr/>
            <p:nvPr/>
          </p:nvSpPr>
          <p:spPr>
            <a:xfrm>
              <a:off x="6096001" y="4574420"/>
              <a:ext cx="5524500" cy="815160"/>
            </a:xfrm>
            <a:prstGeom prst="roundRect">
              <a:avLst>
                <a:gd name="adj" fmla="val 50000"/>
              </a:avLst>
            </a:prstGeom>
            <a:noFill/>
            <a:ln w="12700">
              <a:solidFill>
                <a:srgbClr val="C779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4572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0" i="0" dirty="0" err="1"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latin typeface="Segoe UI" panose="020B0502040204020203" pitchFamily="34" charset="0"/>
                </a:rPr>
                <a:t>Pancard</a:t>
              </a:r>
              <a:r>
                <a:rPr lang="en-US" sz="1600" b="0" i="0" dirty="0"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latin typeface="Segoe UI" panose="020B0502040204020203" pitchFamily="34" charset="0"/>
                </a:rPr>
                <a:t> information of sender and receiver to ensure tracking of the transaction</a:t>
              </a:r>
              <a:endPara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39" name="Connector: Elbow 38">
              <a:extLst>
                <a:ext uri="{FF2B5EF4-FFF2-40B4-BE49-F238E27FC236}">
                  <a16:creationId xmlns:a16="http://schemas.microsoft.com/office/drawing/2014/main" id="{139C188A-BB6F-4E55-AED4-6197EF67004F}"/>
                </a:ext>
              </a:extLst>
            </p:cNvPr>
            <p:cNvCxnSpPr>
              <a:stCxn id="32" idx="1"/>
              <a:endCxn id="38" idx="1"/>
            </p:cNvCxnSpPr>
            <p:nvPr/>
          </p:nvCxnSpPr>
          <p:spPr>
            <a:xfrm rot="10800000" flipV="1">
              <a:off x="6096001" y="2331272"/>
              <a:ext cx="12700" cy="2650727"/>
            </a:xfrm>
            <a:prstGeom prst="bentConnector3">
              <a:avLst>
                <a:gd name="adj1" fmla="val 1800000"/>
              </a:avLst>
            </a:prstGeom>
            <a:ln w="12700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3592A6AB-5C6A-448E-BDA5-A001EF405E06}"/>
                </a:ext>
              </a:extLst>
            </p:cNvPr>
            <p:cNvCxnSpPr>
              <a:endCxn id="35" idx="1"/>
            </p:cNvCxnSpPr>
            <p:nvPr/>
          </p:nvCxnSpPr>
          <p:spPr>
            <a:xfrm>
              <a:off x="5881688" y="3657600"/>
              <a:ext cx="214313" cy="0"/>
            </a:xfrm>
            <a:prstGeom prst="line">
              <a:avLst/>
            </a:prstGeom>
            <a:ln w="12700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314A672-0BB6-40F3-A985-F6EF9C5F9A0F}"/>
                </a:ext>
              </a:extLst>
            </p:cNvPr>
            <p:cNvSpPr/>
            <p:nvPr/>
          </p:nvSpPr>
          <p:spPr>
            <a:xfrm>
              <a:off x="10882487" y="2018181"/>
              <a:ext cx="630038" cy="630038"/>
            </a:xfrm>
            <a:prstGeom prst="ellipse">
              <a:avLst/>
            </a:prstGeom>
            <a:solidFill>
              <a:srgbClr val="393762"/>
            </a:solid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19D16BB6-DC47-43B5-BB47-BF0877A08852}"/>
                </a:ext>
              </a:extLst>
            </p:cNvPr>
            <p:cNvSpPr/>
            <p:nvPr/>
          </p:nvSpPr>
          <p:spPr>
            <a:xfrm>
              <a:off x="10882487" y="3342581"/>
              <a:ext cx="630038" cy="630038"/>
            </a:xfrm>
            <a:prstGeom prst="ellipse">
              <a:avLst/>
            </a:prstGeom>
            <a:solidFill>
              <a:srgbClr val="E48592"/>
            </a:solid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968E564D-674B-4744-B984-E0CE63B305D9}"/>
                </a:ext>
              </a:extLst>
            </p:cNvPr>
            <p:cNvSpPr/>
            <p:nvPr/>
          </p:nvSpPr>
          <p:spPr>
            <a:xfrm>
              <a:off x="10882487" y="4666981"/>
              <a:ext cx="630038" cy="630038"/>
            </a:xfrm>
            <a:prstGeom prst="ellipse">
              <a:avLst/>
            </a:prstGeom>
            <a:solidFill>
              <a:srgbClr val="C779D0"/>
            </a:solidFill>
            <a:ln w="3810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1CB022AD-1136-41DD-B2C1-B8650A974FCB}"/>
                </a:ext>
              </a:extLst>
            </p:cNvPr>
            <p:cNvGrpSpPr/>
            <p:nvPr/>
          </p:nvGrpSpPr>
          <p:grpSpPr>
            <a:xfrm>
              <a:off x="11053837" y="2195088"/>
              <a:ext cx="287338" cy="276225"/>
              <a:chOff x="9309100" y="1363663"/>
              <a:chExt cx="287338" cy="276225"/>
            </a:xfrm>
            <a:solidFill>
              <a:schemeClr val="bg1"/>
            </a:solidFill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grpSpPr>
          <p:sp>
            <p:nvSpPr>
              <p:cNvPr id="56" name="Freeform 77">
                <a:extLst>
                  <a:ext uri="{FF2B5EF4-FFF2-40B4-BE49-F238E27FC236}">
                    <a16:creationId xmlns:a16="http://schemas.microsoft.com/office/drawing/2014/main" id="{D0C3754E-2140-4ACD-ACD1-183908DE48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09100" y="1363663"/>
                <a:ext cx="161925" cy="276225"/>
              </a:xfrm>
              <a:custGeom>
                <a:avLst/>
                <a:gdLst>
                  <a:gd name="T0" fmla="*/ 421 w 511"/>
                  <a:gd name="T1" fmla="*/ 270 h 872"/>
                  <a:gd name="T2" fmla="*/ 361 w 511"/>
                  <a:gd name="T3" fmla="*/ 391 h 872"/>
                  <a:gd name="T4" fmla="*/ 331 w 511"/>
                  <a:gd name="T5" fmla="*/ 511 h 872"/>
                  <a:gd name="T6" fmla="*/ 301 w 511"/>
                  <a:gd name="T7" fmla="*/ 720 h 872"/>
                  <a:gd name="T8" fmla="*/ 331 w 511"/>
                  <a:gd name="T9" fmla="*/ 842 h 872"/>
                  <a:gd name="T10" fmla="*/ 60 w 511"/>
                  <a:gd name="T11" fmla="*/ 750 h 872"/>
                  <a:gd name="T12" fmla="*/ 30 w 511"/>
                  <a:gd name="T13" fmla="*/ 631 h 872"/>
                  <a:gd name="T14" fmla="*/ 30 w 511"/>
                  <a:gd name="T15" fmla="*/ 720 h 872"/>
                  <a:gd name="T16" fmla="*/ 60 w 511"/>
                  <a:gd name="T17" fmla="*/ 601 h 872"/>
                  <a:gd name="T18" fmla="*/ 90 w 511"/>
                  <a:gd name="T19" fmla="*/ 481 h 872"/>
                  <a:gd name="T20" fmla="*/ 135 w 511"/>
                  <a:gd name="T21" fmla="*/ 270 h 872"/>
                  <a:gd name="T22" fmla="*/ 150 w 511"/>
                  <a:gd name="T23" fmla="*/ 150 h 872"/>
                  <a:gd name="T24" fmla="*/ 60 w 511"/>
                  <a:gd name="T25" fmla="*/ 30 h 872"/>
                  <a:gd name="T26" fmla="*/ 391 w 511"/>
                  <a:gd name="T27" fmla="*/ 120 h 872"/>
                  <a:gd name="T28" fmla="*/ 481 w 511"/>
                  <a:gd name="T29" fmla="*/ 240 h 872"/>
                  <a:gd name="T30" fmla="*/ 481 w 511"/>
                  <a:gd name="T31" fmla="*/ 240 h 872"/>
                  <a:gd name="T32" fmla="*/ 150 w 511"/>
                  <a:gd name="T33" fmla="*/ 30 h 872"/>
                  <a:gd name="T34" fmla="*/ 120 w 511"/>
                  <a:gd name="T35" fmla="*/ 481 h 872"/>
                  <a:gd name="T36" fmla="*/ 150 w 511"/>
                  <a:gd name="T37" fmla="*/ 601 h 872"/>
                  <a:gd name="T38" fmla="*/ 120 w 511"/>
                  <a:gd name="T39" fmla="*/ 720 h 872"/>
                  <a:gd name="T40" fmla="*/ 301 w 511"/>
                  <a:gd name="T41" fmla="*/ 750 h 872"/>
                  <a:gd name="T42" fmla="*/ 180 w 511"/>
                  <a:gd name="T43" fmla="*/ 360 h 872"/>
                  <a:gd name="T44" fmla="*/ 241 w 511"/>
                  <a:gd name="T45" fmla="*/ 240 h 872"/>
                  <a:gd name="T46" fmla="*/ 505 w 511"/>
                  <a:gd name="T47" fmla="*/ 267 h 872"/>
                  <a:gd name="T48" fmla="*/ 511 w 511"/>
                  <a:gd name="T49" fmla="*/ 255 h 872"/>
                  <a:gd name="T50" fmla="*/ 507 w 511"/>
                  <a:gd name="T51" fmla="*/ 124 h 872"/>
                  <a:gd name="T52" fmla="*/ 421 w 511"/>
                  <a:gd name="T53" fmla="*/ 120 h 872"/>
                  <a:gd name="T54" fmla="*/ 417 w 511"/>
                  <a:gd name="T55" fmla="*/ 4 h 872"/>
                  <a:gd name="T56" fmla="*/ 45 w 511"/>
                  <a:gd name="T57" fmla="*/ 0 h 872"/>
                  <a:gd name="T58" fmla="*/ 33 w 511"/>
                  <a:gd name="T59" fmla="*/ 6 h 872"/>
                  <a:gd name="T60" fmla="*/ 30 w 511"/>
                  <a:gd name="T61" fmla="*/ 138 h 872"/>
                  <a:gd name="T62" fmla="*/ 40 w 511"/>
                  <a:gd name="T63" fmla="*/ 148 h 872"/>
                  <a:gd name="T64" fmla="*/ 75 w 511"/>
                  <a:gd name="T65" fmla="*/ 240 h 872"/>
                  <a:gd name="T66" fmla="*/ 63 w 511"/>
                  <a:gd name="T67" fmla="*/ 247 h 872"/>
                  <a:gd name="T68" fmla="*/ 15 w 511"/>
                  <a:gd name="T69" fmla="*/ 360 h 872"/>
                  <a:gd name="T70" fmla="*/ 2 w 511"/>
                  <a:gd name="T71" fmla="*/ 367 h 872"/>
                  <a:gd name="T72" fmla="*/ 0 w 511"/>
                  <a:gd name="T73" fmla="*/ 499 h 872"/>
                  <a:gd name="T74" fmla="*/ 10 w 511"/>
                  <a:gd name="T75" fmla="*/ 509 h 872"/>
                  <a:gd name="T76" fmla="*/ 15 w 511"/>
                  <a:gd name="T77" fmla="*/ 601 h 872"/>
                  <a:gd name="T78" fmla="*/ 2 w 511"/>
                  <a:gd name="T79" fmla="*/ 607 h 872"/>
                  <a:gd name="T80" fmla="*/ 0 w 511"/>
                  <a:gd name="T81" fmla="*/ 739 h 872"/>
                  <a:gd name="T82" fmla="*/ 10 w 511"/>
                  <a:gd name="T83" fmla="*/ 749 h 872"/>
                  <a:gd name="T84" fmla="*/ 30 w 511"/>
                  <a:gd name="T85" fmla="*/ 859 h 872"/>
                  <a:gd name="T86" fmla="*/ 40 w 511"/>
                  <a:gd name="T87" fmla="*/ 870 h 872"/>
                  <a:gd name="T88" fmla="*/ 411 w 511"/>
                  <a:gd name="T89" fmla="*/ 870 h 872"/>
                  <a:gd name="T90" fmla="*/ 421 w 511"/>
                  <a:gd name="T91" fmla="*/ 860 h 872"/>
                  <a:gd name="T92" fmla="*/ 419 w 511"/>
                  <a:gd name="T93" fmla="*/ 728 h 872"/>
                  <a:gd name="T94" fmla="*/ 406 w 511"/>
                  <a:gd name="T95" fmla="*/ 720 h 872"/>
                  <a:gd name="T96" fmla="*/ 411 w 511"/>
                  <a:gd name="T97" fmla="*/ 629 h 872"/>
                  <a:gd name="T98" fmla="*/ 421 w 511"/>
                  <a:gd name="T99" fmla="*/ 619 h 872"/>
                  <a:gd name="T100" fmla="*/ 419 w 511"/>
                  <a:gd name="T101" fmla="*/ 487 h 872"/>
                  <a:gd name="T102" fmla="*/ 406 w 511"/>
                  <a:gd name="T103" fmla="*/ 481 h 872"/>
                  <a:gd name="T104" fmla="*/ 442 w 511"/>
                  <a:gd name="T105" fmla="*/ 389 h 872"/>
                  <a:gd name="T106" fmla="*/ 451 w 511"/>
                  <a:gd name="T107" fmla="*/ 378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11" h="872">
                    <a:moveTo>
                      <a:pt x="421" y="360"/>
                    </a:moveTo>
                    <a:lnTo>
                      <a:pt x="376" y="360"/>
                    </a:lnTo>
                    <a:lnTo>
                      <a:pt x="361" y="360"/>
                    </a:lnTo>
                    <a:lnTo>
                      <a:pt x="361" y="270"/>
                    </a:lnTo>
                    <a:lnTo>
                      <a:pt x="421" y="270"/>
                    </a:lnTo>
                    <a:lnTo>
                      <a:pt x="421" y="360"/>
                    </a:lnTo>
                    <a:close/>
                    <a:moveTo>
                      <a:pt x="361" y="481"/>
                    </a:moveTo>
                    <a:lnTo>
                      <a:pt x="301" y="481"/>
                    </a:lnTo>
                    <a:lnTo>
                      <a:pt x="301" y="391"/>
                    </a:lnTo>
                    <a:lnTo>
                      <a:pt x="361" y="391"/>
                    </a:lnTo>
                    <a:lnTo>
                      <a:pt x="361" y="481"/>
                    </a:lnTo>
                    <a:close/>
                    <a:moveTo>
                      <a:pt x="391" y="601"/>
                    </a:moveTo>
                    <a:lnTo>
                      <a:pt x="376" y="601"/>
                    </a:lnTo>
                    <a:lnTo>
                      <a:pt x="331" y="601"/>
                    </a:lnTo>
                    <a:lnTo>
                      <a:pt x="331" y="511"/>
                    </a:lnTo>
                    <a:lnTo>
                      <a:pt x="376" y="511"/>
                    </a:lnTo>
                    <a:lnTo>
                      <a:pt x="391" y="511"/>
                    </a:lnTo>
                    <a:lnTo>
                      <a:pt x="391" y="601"/>
                    </a:lnTo>
                    <a:close/>
                    <a:moveTo>
                      <a:pt x="361" y="720"/>
                    </a:moveTo>
                    <a:lnTo>
                      <a:pt x="301" y="720"/>
                    </a:lnTo>
                    <a:lnTo>
                      <a:pt x="301" y="631"/>
                    </a:lnTo>
                    <a:lnTo>
                      <a:pt x="361" y="631"/>
                    </a:lnTo>
                    <a:lnTo>
                      <a:pt x="361" y="720"/>
                    </a:lnTo>
                    <a:close/>
                    <a:moveTo>
                      <a:pt x="391" y="842"/>
                    </a:moveTo>
                    <a:lnTo>
                      <a:pt x="331" y="842"/>
                    </a:lnTo>
                    <a:lnTo>
                      <a:pt x="331" y="750"/>
                    </a:lnTo>
                    <a:lnTo>
                      <a:pt x="376" y="750"/>
                    </a:lnTo>
                    <a:lnTo>
                      <a:pt x="391" y="750"/>
                    </a:lnTo>
                    <a:lnTo>
                      <a:pt x="391" y="842"/>
                    </a:lnTo>
                    <a:close/>
                    <a:moveTo>
                      <a:pt x="60" y="750"/>
                    </a:moveTo>
                    <a:lnTo>
                      <a:pt x="120" y="750"/>
                    </a:lnTo>
                    <a:lnTo>
                      <a:pt x="120" y="842"/>
                    </a:lnTo>
                    <a:lnTo>
                      <a:pt x="60" y="842"/>
                    </a:lnTo>
                    <a:lnTo>
                      <a:pt x="60" y="750"/>
                    </a:lnTo>
                    <a:close/>
                    <a:moveTo>
                      <a:pt x="30" y="631"/>
                    </a:moveTo>
                    <a:lnTo>
                      <a:pt x="45" y="631"/>
                    </a:lnTo>
                    <a:lnTo>
                      <a:pt x="90" y="631"/>
                    </a:lnTo>
                    <a:lnTo>
                      <a:pt x="90" y="720"/>
                    </a:lnTo>
                    <a:lnTo>
                      <a:pt x="45" y="720"/>
                    </a:lnTo>
                    <a:lnTo>
                      <a:pt x="30" y="720"/>
                    </a:lnTo>
                    <a:lnTo>
                      <a:pt x="30" y="631"/>
                    </a:lnTo>
                    <a:close/>
                    <a:moveTo>
                      <a:pt x="60" y="511"/>
                    </a:moveTo>
                    <a:lnTo>
                      <a:pt x="120" y="511"/>
                    </a:lnTo>
                    <a:lnTo>
                      <a:pt x="120" y="601"/>
                    </a:lnTo>
                    <a:lnTo>
                      <a:pt x="60" y="601"/>
                    </a:lnTo>
                    <a:lnTo>
                      <a:pt x="60" y="511"/>
                    </a:lnTo>
                    <a:close/>
                    <a:moveTo>
                      <a:pt x="30" y="391"/>
                    </a:moveTo>
                    <a:lnTo>
                      <a:pt x="75" y="391"/>
                    </a:lnTo>
                    <a:lnTo>
                      <a:pt x="90" y="391"/>
                    </a:lnTo>
                    <a:lnTo>
                      <a:pt x="90" y="481"/>
                    </a:lnTo>
                    <a:lnTo>
                      <a:pt x="45" y="481"/>
                    </a:lnTo>
                    <a:lnTo>
                      <a:pt x="30" y="481"/>
                    </a:lnTo>
                    <a:lnTo>
                      <a:pt x="30" y="391"/>
                    </a:lnTo>
                    <a:close/>
                    <a:moveTo>
                      <a:pt x="90" y="270"/>
                    </a:moveTo>
                    <a:lnTo>
                      <a:pt x="135" y="270"/>
                    </a:lnTo>
                    <a:lnTo>
                      <a:pt x="150" y="270"/>
                    </a:lnTo>
                    <a:lnTo>
                      <a:pt x="150" y="360"/>
                    </a:lnTo>
                    <a:lnTo>
                      <a:pt x="90" y="360"/>
                    </a:lnTo>
                    <a:lnTo>
                      <a:pt x="90" y="270"/>
                    </a:lnTo>
                    <a:close/>
                    <a:moveTo>
                      <a:pt x="150" y="150"/>
                    </a:moveTo>
                    <a:lnTo>
                      <a:pt x="211" y="150"/>
                    </a:lnTo>
                    <a:lnTo>
                      <a:pt x="211" y="240"/>
                    </a:lnTo>
                    <a:lnTo>
                      <a:pt x="150" y="240"/>
                    </a:lnTo>
                    <a:lnTo>
                      <a:pt x="150" y="150"/>
                    </a:lnTo>
                    <a:close/>
                    <a:moveTo>
                      <a:pt x="60" y="30"/>
                    </a:moveTo>
                    <a:lnTo>
                      <a:pt x="120" y="30"/>
                    </a:lnTo>
                    <a:lnTo>
                      <a:pt x="120" y="120"/>
                    </a:lnTo>
                    <a:lnTo>
                      <a:pt x="60" y="120"/>
                    </a:lnTo>
                    <a:lnTo>
                      <a:pt x="60" y="30"/>
                    </a:lnTo>
                    <a:close/>
                    <a:moveTo>
                      <a:pt x="391" y="120"/>
                    </a:moveTo>
                    <a:lnTo>
                      <a:pt x="331" y="120"/>
                    </a:lnTo>
                    <a:lnTo>
                      <a:pt x="331" y="30"/>
                    </a:lnTo>
                    <a:lnTo>
                      <a:pt x="391" y="30"/>
                    </a:lnTo>
                    <a:lnTo>
                      <a:pt x="391" y="120"/>
                    </a:lnTo>
                    <a:close/>
                    <a:moveTo>
                      <a:pt x="481" y="240"/>
                    </a:moveTo>
                    <a:lnTo>
                      <a:pt x="436" y="240"/>
                    </a:lnTo>
                    <a:lnTo>
                      <a:pt x="421" y="240"/>
                    </a:lnTo>
                    <a:lnTo>
                      <a:pt x="421" y="150"/>
                    </a:lnTo>
                    <a:lnTo>
                      <a:pt x="481" y="150"/>
                    </a:lnTo>
                    <a:lnTo>
                      <a:pt x="481" y="240"/>
                    </a:lnTo>
                    <a:close/>
                    <a:moveTo>
                      <a:pt x="150" y="30"/>
                    </a:moveTo>
                    <a:lnTo>
                      <a:pt x="301" y="30"/>
                    </a:lnTo>
                    <a:lnTo>
                      <a:pt x="301" y="120"/>
                    </a:lnTo>
                    <a:lnTo>
                      <a:pt x="150" y="120"/>
                    </a:lnTo>
                    <a:lnTo>
                      <a:pt x="150" y="30"/>
                    </a:lnTo>
                    <a:close/>
                    <a:moveTo>
                      <a:pt x="120" y="481"/>
                    </a:moveTo>
                    <a:lnTo>
                      <a:pt x="120" y="391"/>
                    </a:lnTo>
                    <a:lnTo>
                      <a:pt x="271" y="391"/>
                    </a:lnTo>
                    <a:lnTo>
                      <a:pt x="271" y="481"/>
                    </a:lnTo>
                    <a:lnTo>
                      <a:pt x="120" y="481"/>
                    </a:lnTo>
                    <a:close/>
                    <a:moveTo>
                      <a:pt x="150" y="601"/>
                    </a:moveTo>
                    <a:lnTo>
                      <a:pt x="150" y="511"/>
                    </a:lnTo>
                    <a:lnTo>
                      <a:pt x="301" y="511"/>
                    </a:lnTo>
                    <a:lnTo>
                      <a:pt x="301" y="601"/>
                    </a:lnTo>
                    <a:lnTo>
                      <a:pt x="150" y="601"/>
                    </a:lnTo>
                    <a:close/>
                    <a:moveTo>
                      <a:pt x="120" y="720"/>
                    </a:moveTo>
                    <a:lnTo>
                      <a:pt x="120" y="631"/>
                    </a:lnTo>
                    <a:lnTo>
                      <a:pt x="271" y="631"/>
                    </a:lnTo>
                    <a:lnTo>
                      <a:pt x="271" y="720"/>
                    </a:lnTo>
                    <a:lnTo>
                      <a:pt x="120" y="720"/>
                    </a:lnTo>
                    <a:close/>
                    <a:moveTo>
                      <a:pt x="301" y="750"/>
                    </a:moveTo>
                    <a:lnTo>
                      <a:pt x="301" y="842"/>
                    </a:lnTo>
                    <a:lnTo>
                      <a:pt x="150" y="842"/>
                    </a:lnTo>
                    <a:lnTo>
                      <a:pt x="150" y="750"/>
                    </a:lnTo>
                    <a:lnTo>
                      <a:pt x="301" y="750"/>
                    </a:lnTo>
                    <a:close/>
                    <a:moveTo>
                      <a:pt x="180" y="360"/>
                    </a:moveTo>
                    <a:lnTo>
                      <a:pt x="180" y="270"/>
                    </a:lnTo>
                    <a:lnTo>
                      <a:pt x="331" y="270"/>
                    </a:lnTo>
                    <a:lnTo>
                      <a:pt x="331" y="360"/>
                    </a:lnTo>
                    <a:lnTo>
                      <a:pt x="180" y="360"/>
                    </a:lnTo>
                    <a:close/>
                    <a:moveTo>
                      <a:pt x="241" y="240"/>
                    </a:moveTo>
                    <a:lnTo>
                      <a:pt x="241" y="150"/>
                    </a:lnTo>
                    <a:lnTo>
                      <a:pt x="391" y="150"/>
                    </a:lnTo>
                    <a:lnTo>
                      <a:pt x="391" y="240"/>
                    </a:lnTo>
                    <a:lnTo>
                      <a:pt x="241" y="240"/>
                    </a:lnTo>
                    <a:close/>
                    <a:moveTo>
                      <a:pt x="451" y="270"/>
                    </a:moveTo>
                    <a:lnTo>
                      <a:pt x="496" y="270"/>
                    </a:lnTo>
                    <a:lnTo>
                      <a:pt x="499" y="270"/>
                    </a:lnTo>
                    <a:lnTo>
                      <a:pt x="502" y="268"/>
                    </a:lnTo>
                    <a:lnTo>
                      <a:pt x="505" y="267"/>
                    </a:lnTo>
                    <a:lnTo>
                      <a:pt x="507" y="265"/>
                    </a:lnTo>
                    <a:lnTo>
                      <a:pt x="509" y="263"/>
                    </a:lnTo>
                    <a:lnTo>
                      <a:pt x="510" y="261"/>
                    </a:lnTo>
                    <a:lnTo>
                      <a:pt x="511" y="258"/>
                    </a:lnTo>
                    <a:lnTo>
                      <a:pt x="511" y="255"/>
                    </a:lnTo>
                    <a:lnTo>
                      <a:pt x="511" y="135"/>
                    </a:lnTo>
                    <a:lnTo>
                      <a:pt x="511" y="131"/>
                    </a:lnTo>
                    <a:lnTo>
                      <a:pt x="510" y="129"/>
                    </a:lnTo>
                    <a:lnTo>
                      <a:pt x="509" y="126"/>
                    </a:lnTo>
                    <a:lnTo>
                      <a:pt x="507" y="124"/>
                    </a:lnTo>
                    <a:lnTo>
                      <a:pt x="505" y="122"/>
                    </a:lnTo>
                    <a:lnTo>
                      <a:pt x="502" y="121"/>
                    </a:lnTo>
                    <a:lnTo>
                      <a:pt x="499" y="120"/>
                    </a:lnTo>
                    <a:lnTo>
                      <a:pt x="496" y="120"/>
                    </a:lnTo>
                    <a:lnTo>
                      <a:pt x="421" y="120"/>
                    </a:lnTo>
                    <a:lnTo>
                      <a:pt x="421" y="15"/>
                    </a:lnTo>
                    <a:lnTo>
                      <a:pt x="421" y="11"/>
                    </a:lnTo>
                    <a:lnTo>
                      <a:pt x="420" y="8"/>
                    </a:lnTo>
                    <a:lnTo>
                      <a:pt x="419" y="6"/>
                    </a:lnTo>
                    <a:lnTo>
                      <a:pt x="417" y="4"/>
                    </a:lnTo>
                    <a:lnTo>
                      <a:pt x="415" y="2"/>
                    </a:lnTo>
                    <a:lnTo>
                      <a:pt x="411" y="1"/>
                    </a:lnTo>
                    <a:lnTo>
                      <a:pt x="409" y="0"/>
                    </a:lnTo>
                    <a:lnTo>
                      <a:pt x="406" y="0"/>
                    </a:lnTo>
                    <a:lnTo>
                      <a:pt x="45" y="0"/>
                    </a:lnTo>
                    <a:lnTo>
                      <a:pt x="42" y="0"/>
                    </a:lnTo>
                    <a:lnTo>
                      <a:pt x="40" y="1"/>
                    </a:lnTo>
                    <a:lnTo>
                      <a:pt x="36" y="2"/>
                    </a:lnTo>
                    <a:lnTo>
                      <a:pt x="34" y="4"/>
                    </a:lnTo>
                    <a:lnTo>
                      <a:pt x="33" y="6"/>
                    </a:lnTo>
                    <a:lnTo>
                      <a:pt x="31" y="8"/>
                    </a:lnTo>
                    <a:lnTo>
                      <a:pt x="30" y="11"/>
                    </a:lnTo>
                    <a:lnTo>
                      <a:pt x="30" y="15"/>
                    </a:lnTo>
                    <a:lnTo>
                      <a:pt x="30" y="135"/>
                    </a:lnTo>
                    <a:lnTo>
                      <a:pt x="30" y="138"/>
                    </a:lnTo>
                    <a:lnTo>
                      <a:pt x="31" y="140"/>
                    </a:lnTo>
                    <a:lnTo>
                      <a:pt x="33" y="143"/>
                    </a:lnTo>
                    <a:lnTo>
                      <a:pt x="34" y="145"/>
                    </a:lnTo>
                    <a:lnTo>
                      <a:pt x="36" y="147"/>
                    </a:lnTo>
                    <a:lnTo>
                      <a:pt x="40" y="148"/>
                    </a:lnTo>
                    <a:lnTo>
                      <a:pt x="42" y="150"/>
                    </a:lnTo>
                    <a:lnTo>
                      <a:pt x="45" y="150"/>
                    </a:lnTo>
                    <a:lnTo>
                      <a:pt x="120" y="150"/>
                    </a:lnTo>
                    <a:lnTo>
                      <a:pt x="120" y="240"/>
                    </a:lnTo>
                    <a:lnTo>
                      <a:pt x="75" y="240"/>
                    </a:lnTo>
                    <a:lnTo>
                      <a:pt x="72" y="241"/>
                    </a:lnTo>
                    <a:lnTo>
                      <a:pt x="70" y="241"/>
                    </a:lnTo>
                    <a:lnTo>
                      <a:pt x="66" y="243"/>
                    </a:lnTo>
                    <a:lnTo>
                      <a:pt x="64" y="244"/>
                    </a:lnTo>
                    <a:lnTo>
                      <a:pt x="63" y="247"/>
                    </a:lnTo>
                    <a:lnTo>
                      <a:pt x="61" y="249"/>
                    </a:lnTo>
                    <a:lnTo>
                      <a:pt x="60" y="252"/>
                    </a:lnTo>
                    <a:lnTo>
                      <a:pt x="60" y="255"/>
                    </a:lnTo>
                    <a:lnTo>
                      <a:pt x="60" y="360"/>
                    </a:lnTo>
                    <a:lnTo>
                      <a:pt x="15" y="360"/>
                    </a:lnTo>
                    <a:lnTo>
                      <a:pt x="12" y="361"/>
                    </a:lnTo>
                    <a:lnTo>
                      <a:pt x="10" y="362"/>
                    </a:lnTo>
                    <a:lnTo>
                      <a:pt x="6" y="363"/>
                    </a:lnTo>
                    <a:lnTo>
                      <a:pt x="4" y="365"/>
                    </a:lnTo>
                    <a:lnTo>
                      <a:pt x="2" y="367"/>
                    </a:lnTo>
                    <a:lnTo>
                      <a:pt x="1" y="369"/>
                    </a:lnTo>
                    <a:lnTo>
                      <a:pt x="0" y="372"/>
                    </a:lnTo>
                    <a:lnTo>
                      <a:pt x="0" y="376"/>
                    </a:lnTo>
                    <a:lnTo>
                      <a:pt x="0" y="496"/>
                    </a:lnTo>
                    <a:lnTo>
                      <a:pt x="0" y="499"/>
                    </a:lnTo>
                    <a:lnTo>
                      <a:pt x="1" y="501"/>
                    </a:lnTo>
                    <a:lnTo>
                      <a:pt x="2" y="504"/>
                    </a:lnTo>
                    <a:lnTo>
                      <a:pt x="4" y="506"/>
                    </a:lnTo>
                    <a:lnTo>
                      <a:pt x="6" y="508"/>
                    </a:lnTo>
                    <a:lnTo>
                      <a:pt x="10" y="509"/>
                    </a:lnTo>
                    <a:lnTo>
                      <a:pt x="12" y="511"/>
                    </a:lnTo>
                    <a:lnTo>
                      <a:pt x="15" y="511"/>
                    </a:lnTo>
                    <a:lnTo>
                      <a:pt x="30" y="511"/>
                    </a:lnTo>
                    <a:lnTo>
                      <a:pt x="30" y="601"/>
                    </a:lnTo>
                    <a:lnTo>
                      <a:pt x="15" y="601"/>
                    </a:lnTo>
                    <a:lnTo>
                      <a:pt x="12" y="601"/>
                    </a:lnTo>
                    <a:lnTo>
                      <a:pt x="10" y="602"/>
                    </a:lnTo>
                    <a:lnTo>
                      <a:pt x="6" y="603"/>
                    </a:lnTo>
                    <a:lnTo>
                      <a:pt x="4" y="605"/>
                    </a:lnTo>
                    <a:lnTo>
                      <a:pt x="2" y="607"/>
                    </a:lnTo>
                    <a:lnTo>
                      <a:pt x="1" y="610"/>
                    </a:lnTo>
                    <a:lnTo>
                      <a:pt x="0" y="612"/>
                    </a:lnTo>
                    <a:lnTo>
                      <a:pt x="0" y="616"/>
                    </a:lnTo>
                    <a:lnTo>
                      <a:pt x="0" y="735"/>
                    </a:lnTo>
                    <a:lnTo>
                      <a:pt x="0" y="739"/>
                    </a:lnTo>
                    <a:lnTo>
                      <a:pt x="1" y="742"/>
                    </a:lnTo>
                    <a:lnTo>
                      <a:pt x="2" y="744"/>
                    </a:lnTo>
                    <a:lnTo>
                      <a:pt x="4" y="746"/>
                    </a:lnTo>
                    <a:lnTo>
                      <a:pt x="6" y="748"/>
                    </a:lnTo>
                    <a:lnTo>
                      <a:pt x="10" y="749"/>
                    </a:lnTo>
                    <a:lnTo>
                      <a:pt x="12" y="750"/>
                    </a:lnTo>
                    <a:lnTo>
                      <a:pt x="15" y="752"/>
                    </a:lnTo>
                    <a:lnTo>
                      <a:pt x="30" y="750"/>
                    </a:lnTo>
                    <a:lnTo>
                      <a:pt x="30" y="857"/>
                    </a:lnTo>
                    <a:lnTo>
                      <a:pt x="30" y="859"/>
                    </a:lnTo>
                    <a:lnTo>
                      <a:pt x="31" y="862"/>
                    </a:lnTo>
                    <a:lnTo>
                      <a:pt x="33" y="865"/>
                    </a:lnTo>
                    <a:lnTo>
                      <a:pt x="34" y="867"/>
                    </a:lnTo>
                    <a:lnTo>
                      <a:pt x="36" y="868"/>
                    </a:lnTo>
                    <a:lnTo>
                      <a:pt x="40" y="870"/>
                    </a:lnTo>
                    <a:lnTo>
                      <a:pt x="42" y="870"/>
                    </a:lnTo>
                    <a:lnTo>
                      <a:pt x="45" y="872"/>
                    </a:lnTo>
                    <a:lnTo>
                      <a:pt x="406" y="872"/>
                    </a:lnTo>
                    <a:lnTo>
                      <a:pt x="409" y="870"/>
                    </a:lnTo>
                    <a:lnTo>
                      <a:pt x="411" y="870"/>
                    </a:lnTo>
                    <a:lnTo>
                      <a:pt x="415" y="868"/>
                    </a:lnTo>
                    <a:lnTo>
                      <a:pt x="417" y="867"/>
                    </a:lnTo>
                    <a:lnTo>
                      <a:pt x="419" y="865"/>
                    </a:lnTo>
                    <a:lnTo>
                      <a:pt x="420" y="862"/>
                    </a:lnTo>
                    <a:lnTo>
                      <a:pt x="421" y="860"/>
                    </a:lnTo>
                    <a:lnTo>
                      <a:pt x="421" y="857"/>
                    </a:lnTo>
                    <a:lnTo>
                      <a:pt x="421" y="735"/>
                    </a:lnTo>
                    <a:lnTo>
                      <a:pt x="421" y="733"/>
                    </a:lnTo>
                    <a:lnTo>
                      <a:pt x="420" y="730"/>
                    </a:lnTo>
                    <a:lnTo>
                      <a:pt x="419" y="728"/>
                    </a:lnTo>
                    <a:lnTo>
                      <a:pt x="417" y="726"/>
                    </a:lnTo>
                    <a:lnTo>
                      <a:pt x="415" y="724"/>
                    </a:lnTo>
                    <a:lnTo>
                      <a:pt x="411" y="723"/>
                    </a:lnTo>
                    <a:lnTo>
                      <a:pt x="409" y="722"/>
                    </a:lnTo>
                    <a:lnTo>
                      <a:pt x="406" y="720"/>
                    </a:lnTo>
                    <a:lnTo>
                      <a:pt x="391" y="720"/>
                    </a:lnTo>
                    <a:lnTo>
                      <a:pt x="391" y="631"/>
                    </a:lnTo>
                    <a:lnTo>
                      <a:pt x="406" y="631"/>
                    </a:lnTo>
                    <a:lnTo>
                      <a:pt x="409" y="631"/>
                    </a:lnTo>
                    <a:lnTo>
                      <a:pt x="411" y="629"/>
                    </a:lnTo>
                    <a:lnTo>
                      <a:pt x="415" y="628"/>
                    </a:lnTo>
                    <a:lnTo>
                      <a:pt x="417" y="626"/>
                    </a:lnTo>
                    <a:lnTo>
                      <a:pt x="419" y="624"/>
                    </a:lnTo>
                    <a:lnTo>
                      <a:pt x="420" y="622"/>
                    </a:lnTo>
                    <a:lnTo>
                      <a:pt x="421" y="619"/>
                    </a:lnTo>
                    <a:lnTo>
                      <a:pt x="421" y="616"/>
                    </a:lnTo>
                    <a:lnTo>
                      <a:pt x="421" y="496"/>
                    </a:lnTo>
                    <a:lnTo>
                      <a:pt x="421" y="492"/>
                    </a:lnTo>
                    <a:lnTo>
                      <a:pt x="420" y="489"/>
                    </a:lnTo>
                    <a:lnTo>
                      <a:pt x="419" y="487"/>
                    </a:lnTo>
                    <a:lnTo>
                      <a:pt x="417" y="485"/>
                    </a:lnTo>
                    <a:lnTo>
                      <a:pt x="415" y="483"/>
                    </a:lnTo>
                    <a:lnTo>
                      <a:pt x="411" y="482"/>
                    </a:lnTo>
                    <a:lnTo>
                      <a:pt x="409" y="481"/>
                    </a:lnTo>
                    <a:lnTo>
                      <a:pt x="406" y="481"/>
                    </a:lnTo>
                    <a:lnTo>
                      <a:pt x="391" y="481"/>
                    </a:lnTo>
                    <a:lnTo>
                      <a:pt x="391" y="391"/>
                    </a:lnTo>
                    <a:lnTo>
                      <a:pt x="436" y="391"/>
                    </a:lnTo>
                    <a:lnTo>
                      <a:pt x="439" y="389"/>
                    </a:lnTo>
                    <a:lnTo>
                      <a:pt x="442" y="389"/>
                    </a:lnTo>
                    <a:lnTo>
                      <a:pt x="445" y="387"/>
                    </a:lnTo>
                    <a:lnTo>
                      <a:pt x="447" y="386"/>
                    </a:lnTo>
                    <a:lnTo>
                      <a:pt x="449" y="383"/>
                    </a:lnTo>
                    <a:lnTo>
                      <a:pt x="450" y="381"/>
                    </a:lnTo>
                    <a:lnTo>
                      <a:pt x="451" y="378"/>
                    </a:lnTo>
                    <a:lnTo>
                      <a:pt x="451" y="376"/>
                    </a:lnTo>
                    <a:lnTo>
                      <a:pt x="451" y="2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7" name="Freeform 78">
                <a:extLst>
                  <a:ext uri="{FF2B5EF4-FFF2-40B4-BE49-F238E27FC236}">
                    <a16:creationId xmlns:a16="http://schemas.microsoft.com/office/drawing/2014/main" id="{CDE418E8-25AF-43A5-AA59-65E4B33AF7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51975" y="1516063"/>
                <a:ext cx="144463" cy="123825"/>
              </a:xfrm>
              <a:custGeom>
                <a:avLst/>
                <a:gdLst>
                  <a:gd name="T0" fmla="*/ 376 w 451"/>
                  <a:gd name="T1" fmla="*/ 239 h 391"/>
                  <a:gd name="T2" fmla="*/ 361 w 451"/>
                  <a:gd name="T3" fmla="*/ 150 h 391"/>
                  <a:gd name="T4" fmla="*/ 421 w 451"/>
                  <a:gd name="T5" fmla="*/ 150 h 391"/>
                  <a:gd name="T6" fmla="*/ 361 w 451"/>
                  <a:gd name="T7" fmla="*/ 361 h 391"/>
                  <a:gd name="T8" fmla="*/ 301 w 451"/>
                  <a:gd name="T9" fmla="*/ 269 h 391"/>
                  <a:gd name="T10" fmla="*/ 361 w 451"/>
                  <a:gd name="T11" fmla="*/ 361 h 391"/>
                  <a:gd name="T12" fmla="*/ 75 w 451"/>
                  <a:gd name="T13" fmla="*/ 269 h 391"/>
                  <a:gd name="T14" fmla="*/ 90 w 451"/>
                  <a:gd name="T15" fmla="*/ 361 h 391"/>
                  <a:gd name="T16" fmla="*/ 30 w 451"/>
                  <a:gd name="T17" fmla="*/ 269 h 391"/>
                  <a:gd name="T18" fmla="*/ 150 w 451"/>
                  <a:gd name="T19" fmla="*/ 150 h 391"/>
                  <a:gd name="T20" fmla="*/ 90 w 451"/>
                  <a:gd name="T21" fmla="*/ 239 h 391"/>
                  <a:gd name="T22" fmla="*/ 30 w 451"/>
                  <a:gd name="T23" fmla="*/ 30 h 391"/>
                  <a:gd name="T24" fmla="*/ 90 w 451"/>
                  <a:gd name="T25" fmla="*/ 120 h 391"/>
                  <a:gd name="T26" fmla="*/ 30 w 451"/>
                  <a:gd name="T27" fmla="*/ 120 h 391"/>
                  <a:gd name="T28" fmla="*/ 120 w 451"/>
                  <a:gd name="T29" fmla="*/ 120 h 391"/>
                  <a:gd name="T30" fmla="*/ 271 w 451"/>
                  <a:gd name="T31" fmla="*/ 30 h 391"/>
                  <a:gd name="T32" fmla="*/ 120 w 451"/>
                  <a:gd name="T33" fmla="*/ 120 h 391"/>
                  <a:gd name="T34" fmla="*/ 271 w 451"/>
                  <a:gd name="T35" fmla="*/ 361 h 391"/>
                  <a:gd name="T36" fmla="*/ 120 w 451"/>
                  <a:gd name="T37" fmla="*/ 269 h 391"/>
                  <a:gd name="T38" fmla="*/ 181 w 451"/>
                  <a:gd name="T39" fmla="*/ 239 h 391"/>
                  <a:gd name="T40" fmla="*/ 331 w 451"/>
                  <a:gd name="T41" fmla="*/ 150 h 391"/>
                  <a:gd name="T42" fmla="*/ 181 w 451"/>
                  <a:gd name="T43" fmla="*/ 239 h 391"/>
                  <a:gd name="T44" fmla="*/ 301 w 451"/>
                  <a:gd name="T45" fmla="*/ 120 h 391"/>
                  <a:gd name="T46" fmla="*/ 361 w 451"/>
                  <a:gd name="T47" fmla="*/ 30 h 391"/>
                  <a:gd name="T48" fmla="*/ 436 w 451"/>
                  <a:gd name="T49" fmla="*/ 120 h 391"/>
                  <a:gd name="T50" fmla="*/ 391 w 451"/>
                  <a:gd name="T51" fmla="*/ 15 h 391"/>
                  <a:gd name="T52" fmla="*/ 390 w 451"/>
                  <a:gd name="T53" fmla="*/ 8 h 391"/>
                  <a:gd name="T54" fmla="*/ 387 w 451"/>
                  <a:gd name="T55" fmla="*/ 4 h 391"/>
                  <a:gd name="T56" fmla="*/ 381 w 451"/>
                  <a:gd name="T57" fmla="*/ 1 h 391"/>
                  <a:gd name="T58" fmla="*/ 376 w 451"/>
                  <a:gd name="T59" fmla="*/ 0 h 391"/>
                  <a:gd name="T60" fmla="*/ 12 w 451"/>
                  <a:gd name="T61" fmla="*/ 0 h 391"/>
                  <a:gd name="T62" fmla="*/ 6 w 451"/>
                  <a:gd name="T63" fmla="*/ 2 h 391"/>
                  <a:gd name="T64" fmla="*/ 3 w 451"/>
                  <a:gd name="T65" fmla="*/ 6 h 391"/>
                  <a:gd name="T66" fmla="*/ 0 w 451"/>
                  <a:gd name="T67" fmla="*/ 11 h 391"/>
                  <a:gd name="T68" fmla="*/ 0 w 451"/>
                  <a:gd name="T69" fmla="*/ 135 h 391"/>
                  <a:gd name="T70" fmla="*/ 1 w 451"/>
                  <a:gd name="T71" fmla="*/ 141 h 391"/>
                  <a:gd name="T72" fmla="*/ 4 w 451"/>
                  <a:gd name="T73" fmla="*/ 145 h 391"/>
                  <a:gd name="T74" fmla="*/ 10 w 451"/>
                  <a:gd name="T75" fmla="*/ 148 h 391"/>
                  <a:gd name="T76" fmla="*/ 15 w 451"/>
                  <a:gd name="T77" fmla="*/ 150 h 391"/>
                  <a:gd name="T78" fmla="*/ 60 w 451"/>
                  <a:gd name="T79" fmla="*/ 239 h 391"/>
                  <a:gd name="T80" fmla="*/ 12 w 451"/>
                  <a:gd name="T81" fmla="*/ 241 h 391"/>
                  <a:gd name="T82" fmla="*/ 6 w 451"/>
                  <a:gd name="T83" fmla="*/ 243 h 391"/>
                  <a:gd name="T84" fmla="*/ 3 w 451"/>
                  <a:gd name="T85" fmla="*/ 247 h 391"/>
                  <a:gd name="T86" fmla="*/ 0 w 451"/>
                  <a:gd name="T87" fmla="*/ 252 h 391"/>
                  <a:gd name="T88" fmla="*/ 0 w 451"/>
                  <a:gd name="T89" fmla="*/ 376 h 391"/>
                  <a:gd name="T90" fmla="*/ 1 w 451"/>
                  <a:gd name="T91" fmla="*/ 381 h 391"/>
                  <a:gd name="T92" fmla="*/ 4 w 451"/>
                  <a:gd name="T93" fmla="*/ 386 h 391"/>
                  <a:gd name="T94" fmla="*/ 10 w 451"/>
                  <a:gd name="T95" fmla="*/ 389 h 391"/>
                  <a:gd name="T96" fmla="*/ 15 w 451"/>
                  <a:gd name="T97" fmla="*/ 391 h 391"/>
                  <a:gd name="T98" fmla="*/ 379 w 451"/>
                  <a:gd name="T99" fmla="*/ 389 h 391"/>
                  <a:gd name="T100" fmla="*/ 385 w 451"/>
                  <a:gd name="T101" fmla="*/ 387 h 391"/>
                  <a:gd name="T102" fmla="*/ 389 w 451"/>
                  <a:gd name="T103" fmla="*/ 384 h 391"/>
                  <a:gd name="T104" fmla="*/ 391 w 451"/>
                  <a:gd name="T105" fmla="*/ 379 h 391"/>
                  <a:gd name="T106" fmla="*/ 391 w 451"/>
                  <a:gd name="T107" fmla="*/ 269 h 391"/>
                  <a:gd name="T108" fmla="*/ 439 w 451"/>
                  <a:gd name="T109" fmla="*/ 269 h 391"/>
                  <a:gd name="T110" fmla="*/ 445 w 451"/>
                  <a:gd name="T111" fmla="*/ 267 h 391"/>
                  <a:gd name="T112" fmla="*/ 449 w 451"/>
                  <a:gd name="T113" fmla="*/ 263 h 391"/>
                  <a:gd name="T114" fmla="*/ 451 w 451"/>
                  <a:gd name="T115" fmla="*/ 258 h 391"/>
                  <a:gd name="T116" fmla="*/ 451 w 451"/>
                  <a:gd name="T117" fmla="*/ 135 h 391"/>
                  <a:gd name="T118" fmla="*/ 450 w 451"/>
                  <a:gd name="T119" fmla="*/ 129 h 391"/>
                  <a:gd name="T120" fmla="*/ 447 w 451"/>
                  <a:gd name="T121" fmla="*/ 124 h 391"/>
                  <a:gd name="T122" fmla="*/ 442 w 451"/>
                  <a:gd name="T123" fmla="*/ 121 h 391"/>
                  <a:gd name="T124" fmla="*/ 436 w 451"/>
                  <a:gd name="T125" fmla="*/ 120 h 3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51" h="391">
                    <a:moveTo>
                      <a:pt x="421" y="239"/>
                    </a:moveTo>
                    <a:lnTo>
                      <a:pt x="376" y="239"/>
                    </a:lnTo>
                    <a:lnTo>
                      <a:pt x="361" y="239"/>
                    </a:lnTo>
                    <a:lnTo>
                      <a:pt x="361" y="150"/>
                    </a:lnTo>
                    <a:lnTo>
                      <a:pt x="376" y="150"/>
                    </a:lnTo>
                    <a:lnTo>
                      <a:pt x="421" y="150"/>
                    </a:lnTo>
                    <a:lnTo>
                      <a:pt x="421" y="239"/>
                    </a:lnTo>
                    <a:close/>
                    <a:moveTo>
                      <a:pt x="361" y="361"/>
                    </a:moveTo>
                    <a:lnTo>
                      <a:pt x="301" y="361"/>
                    </a:lnTo>
                    <a:lnTo>
                      <a:pt x="301" y="269"/>
                    </a:lnTo>
                    <a:lnTo>
                      <a:pt x="361" y="269"/>
                    </a:lnTo>
                    <a:lnTo>
                      <a:pt x="361" y="361"/>
                    </a:lnTo>
                    <a:close/>
                    <a:moveTo>
                      <a:pt x="30" y="269"/>
                    </a:moveTo>
                    <a:lnTo>
                      <a:pt x="75" y="269"/>
                    </a:lnTo>
                    <a:lnTo>
                      <a:pt x="90" y="269"/>
                    </a:lnTo>
                    <a:lnTo>
                      <a:pt x="90" y="361"/>
                    </a:lnTo>
                    <a:lnTo>
                      <a:pt x="30" y="361"/>
                    </a:lnTo>
                    <a:lnTo>
                      <a:pt x="30" y="269"/>
                    </a:lnTo>
                    <a:close/>
                    <a:moveTo>
                      <a:pt x="90" y="150"/>
                    </a:moveTo>
                    <a:lnTo>
                      <a:pt x="150" y="150"/>
                    </a:lnTo>
                    <a:lnTo>
                      <a:pt x="150" y="239"/>
                    </a:lnTo>
                    <a:lnTo>
                      <a:pt x="90" y="239"/>
                    </a:lnTo>
                    <a:lnTo>
                      <a:pt x="90" y="150"/>
                    </a:lnTo>
                    <a:close/>
                    <a:moveTo>
                      <a:pt x="30" y="30"/>
                    </a:moveTo>
                    <a:lnTo>
                      <a:pt x="90" y="30"/>
                    </a:lnTo>
                    <a:lnTo>
                      <a:pt x="90" y="120"/>
                    </a:lnTo>
                    <a:lnTo>
                      <a:pt x="75" y="120"/>
                    </a:lnTo>
                    <a:lnTo>
                      <a:pt x="30" y="120"/>
                    </a:lnTo>
                    <a:lnTo>
                      <a:pt x="30" y="30"/>
                    </a:lnTo>
                    <a:close/>
                    <a:moveTo>
                      <a:pt x="120" y="120"/>
                    </a:moveTo>
                    <a:lnTo>
                      <a:pt x="120" y="30"/>
                    </a:lnTo>
                    <a:lnTo>
                      <a:pt x="271" y="30"/>
                    </a:lnTo>
                    <a:lnTo>
                      <a:pt x="271" y="120"/>
                    </a:lnTo>
                    <a:lnTo>
                      <a:pt x="120" y="120"/>
                    </a:lnTo>
                    <a:close/>
                    <a:moveTo>
                      <a:pt x="271" y="269"/>
                    </a:moveTo>
                    <a:lnTo>
                      <a:pt x="271" y="361"/>
                    </a:lnTo>
                    <a:lnTo>
                      <a:pt x="120" y="361"/>
                    </a:lnTo>
                    <a:lnTo>
                      <a:pt x="120" y="269"/>
                    </a:lnTo>
                    <a:lnTo>
                      <a:pt x="271" y="269"/>
                    </a:lnTo>
                    <a:close/>
                    <a:moveTo>
                      <a:pt x="181" y="239"/>
                    </a:moveTo>
                    <a:lnTo>
                      <a:pt x="181" y="150"/>
                    </a:lnTo>
                    <a:lnTo>
                      <a:pt x="331" y="150"/>
                    </a:lnTo>
                    <a:lnTo>
                      <a:pt x="331" y="239"/>
                    </a:lnTo>
                    <a:lnTo>
                      <a:pt x="181" y="239"/>
                    </a:lnTo>
                    <a:close/>
                    <a:moveTo>
                      <a:pt x="361" y="120"/>
                    </a:moveTo>
                    <a:lnTo>
                      <a:pt x="301" y="120"/>
                    </a:lnTo>
                    <a:lnTo>
                      <a:pt x="301" y="30"/>
                    </a:lnTo>
                    <a:lnTo>
                      <a:pt x="361" y="30"/>
                    </a:lnTo>
                    <a:lnTo>
                      <a:pt x="361" y="120"/>
                    </a:lnTo>
                    <a:close/>
                    <a:moveTo>
                      <a:pt x="436" y="120"/>
                    </a:moveTo>
                    <a:lnTo>
                      <a:pt x="391" y="120"/>
                    </a:lnTo>
                    <a:lnTo>
                      <a:pt x="391" y="15"/>
                    </a:lnTo>
                    <a:lnTo>
                      <a:pt x="391" y="11"/>
                    </a:lnTo>
                    <a:lnTo>
                      <a:pt x="390" y="8"/>
                    </a:lnTo>
                    <a:lnTo>
                      <a:pt x="389" y="6"/>
                    </a:lnTo>
                    <a:lnTo>
                      <a:pt x="387" y="4"/>
                    </a:lnTo>
                    <a:lnTo>
                      <a:pt x="385" y="2"/>
                    </a:lnTo>
                    <a:lnTo>
                      <a:pt x="381" y="1"/>
                    </a:lnTo>
                    <a:lnTo>
                      <a:pt x="379" y="0"/>
                    </a:lnTo>
                    <a:lnTo>
                      <a:pt x="37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8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35"/>
                    </a:lnTo>
                    <a:lnTo>
                      <a:pt x="0" y="138"/>
                    </a:lnTo>
                    <a:lnTo>
                      <a:pt x="1" y="141"/>
                    </a:lnTo>
                    <a:lnTo>
                      <a:pt x="3" y="143"/>
                    </a:lnTo>
                    <a:lnTo>
                      <a:pt x="4" y="145"/>
                    </a:lnTo>
                    <a:lnTo>
                      <a:pt x="6" y="147"/>
                    </a:lnTo>
                    <a:lnTo>
                      <a:pt x="10" y="148"/>
                    </a:lnTo>
                    <a:lnTo>
                      <a:pt x="12" y="150"/>
                    </a:lnTo>
                    <a:lnTo>
                      <a:pt x="15" y="150"/>
                    </a:lnTo>
                    <a:lnTo>
                      <a:pt x="60" y="150"/>
                    </a:lnTo>
                    <a:lnTo>
                      <a:pt x="60" y="239"/>
                    </a:lnTo>
                    <a:lnTo>
                      <a:pt x="15" y="239"/>
                    </a:lnTo>
                    <a:lnTo>
                      <a:pt x="12" y="241"/>
                    </a:lnTo>
                    <a:lnTo>
                      <a:pt x="10" y="241"/>
                    </a:lnTo>
                    <a:lnTo>
                      <a:pt x="6" y="243"/>
                    </a:lnTo>
                    <a:lnTo>
                      <a:pt x="4" y="245"/>
                    </a:lnTo>
                    <a:lnTo>
                      <a:pt x="3" y="247"/>
                    </a:lnTo>
                    <a:lnTo>
                      <a:pt x="1" y="249"/>
                    </a:lnTo>
                    <a:lnTo>
                      <a:pt x="0" y="252"/>
                    </a:lnTo>
                    <a:lnTo>
                      <a:pt x="0" y="254"/>
                    </a:lnTo>
                    <a:lnTo>
                      <a:pt x="0" y="376"/>
                    </a:lnTo>
                    <a:lnTo>
                      <a:pt x="0" y="378"/>
                    </a:lnTo>
                    <a:lnTo>
                      <a:pt x="1" y="381"/>
                    </a:lnTo>
                    <a:lnTo>
                      <a:pt x="3" y="384"/>
                    </a:lnTo>
                    <a:lnTo>
                      <a:pt x="4" y="386"/>
                    </a:lnTo>
                    <a:lnTo>
                      <a:pt x="6" y="387"/>
                    </a:lnTo>
                    <a:lnTo>
                      <a:pt x="10" y="389"/>
                    </a:lnTo>
                    <a:lnTo>
                      <a:pt x="12" y="389"/>
                    </a:lnTo>
                    <a:lnTo>
                      <a:pt x="15" y="391"/>
                    </a:lnTo>
                    <a:lnTo>
                      <a:pt x="376" y="391"/>
                    </a:lnTo>
                    <a:lnTo>
                      <a:pt x="379" y="389"/>
                    </a:lnTo>
                    <a:lnTo>
                      <a:pt x="381" y="389"/>
                    </a:lnTo>
                    <a:lnTo>
                      <a:pt x="385" y="387"/>
                    </a:lnTo>
                    <a:lnTo>
                      <a:pt x="387" y="386"/>
                    </a:lnTo>
                    <a:lnTo>
                      <a:pt x="389" y="384"/>
                    </a:lnTo>
                    <a:lnTo>
                      <a:pt x="390" y="381"/>
                    </a:lnTo>
                    <a:lnTo>
                      <a:pt x="391" y="379"/>
                    </a:lnTo>
                    <a:lnTo>
                      <a:pt x="391" y="376"/>
                    </a:lnTo>
                    <a:lnTo>
                      <a:pt x="391" y="269"/>
                    </a:lnTo>
                    <a:lnTo>
                      <a:pt x="436" y="269"/>
                    </a:lnTo>
                    <a:lnTo>
                      <a:pt x="439" y="269"/>
                    </a:lnTo>
                    <a:lnTo>
                      <a:pt x="442" y="268"/>
                    </a:lnTo>
                    <a:lnTo>
                      <a:pt x="445" y="267"/>
                    </a:lnTo>
                    <a:lnTo>
                      <a:pt x="447" y="265"/>
                    </a:lnTo>
                    <a:lnTo>
                      <a:pt x="449" y="263"/>
                    </a:lnTo>
                    <a:lnTo>
                      <a:pt x="450" y="261"/>
                    </a:lnTo>
                    <a:lnTo>
                      <a:pt x="451" y="258"/>
                    </a:lnTo>
                    <a:lnTo>
                      <a:pt x="451" y="254"/>
                    </a:lnTo>
                    <a:lnTo>
                      <a:pt x="451" y="135"/>
                    </a:lnTo>
                    <a:lnTo>
                      <a:pt x="451" y="131"/>
                    </a:lnTo>
                    <a:lnTo>
                      <a:pt x="450" y="129"/>
                    </a:lnTo>
                    <a:lnTo>
                      <a:pt x="449" y="126"/>
                    </a:lnTo>
                    <a:lnTo>
                      <a:pt x="447" y="124"/>
                    </a:lnTo>
                    <a:lnTo>
                      <a:pt x="445" y="123"/>
                    </a:lnTo>
                    <a:lnTo>
                      <a:pt x="442" y="121"/>
                    </a:lnTo>
                    <a:lnTo>
                      <a:pt x="439" y="120"/>
                    </a:lnTo>
                    <a:lnTo>
                      <a:pt x="436" y="120"/>
                    </a:lnTo>
                    <a:lnTo>
                      <a:pt x="436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CEED8552-EB88-4419-90C1-C1E59B36B0F7}"/>
                </a:ext>
              </a:extLst>
            </p:cNvPr>
            <p:cNvGrpSpPr/>
            <p:nvPr/>
          </p:nvGrpSpPr>
          <p:grpSpPr>
            <a:xfrm>
              <a:off x="11053837" y="3513931"/>
              <a:ext cx="287338" cy="287338"/>
              <a:chOff x="8736013" y="1925638"/>
              <a:chExt cx="287338" cy="287338"/>
            </a:xfrm>
            <a:solidFill>
              <a:schemeClr val="bg1"/>
            </a:solidFill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grpSpPr>
          <p:sp>
            <p:nvSpPr>
              <p:cNvPr id="54" name="Freeform 97">
                <a:extLst>
                  <a:ext uri="{FF2B5EF4-FFF2-40B4-BE49-F238E27FC236}">
                    <a16:creationId xmlns:a16="http://schemas.microsoft.com/office/drawing/2014/main" id="{8995D50C-7A03-4940-94FF-0737320DA0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" name="Freeform 98">
                <a:extLst>
                  <a:ext uri="{FF2B5EF4-FFF2-40B4-BE49-F238E27FC236}">
                    <a16:creationId xmlns:a16="http://schemas.microsoft.com/office/drawing/2014/main" id="{B7FDD9C4-EE45-49E2-ABA7-0F3331CF16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71551D04-CCCA-40F4-9BB8-F4904A84F8D7}"/>
                </a:ext>
              </a:extLst>
            </p:cNvPr>
            <p:cNvGrpSpPr/>
            <p:nvPr/>
          </p:nvGrpSpPr>
          <p:grpSpPr>
            <a:xfrm>
              <a:off x="11054631" y="4838331"/>
              <a:ext cx="285750" cy="287338"/>
              <a:chOff x="10455275" y="2498725"/>
              <a:chExt cx="285750" cy="287338"/>
            </a:xfrm>
            <a:solidFill>
              <a:schemeClr val="bg1"/>
            </a:solidFill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grpSpPr>
          <p:sp>
            <p:nvSpPr>
              <p:cNvPr id="50" name="Freeform 214">
                <a:extLst>
                  <a:ext uri="{FF2B5EF4-FFF2-40B4-BE49-F238E27FC236}">
                    <a16:creationId xmlns:a16="http://schemas.microsoft.com/office/drawing/2014/main" id="{C3E81B55-BB88-4C6C-B849-34355EF079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55275" y="2593975"/>
                <a:ext cx="285750" cy="192088"/>
              </a:xfrm>
              <a:custGeom>
                <a:avLst/>
                <a:gdLst>
                  <a:gd name="T0" fmla="*/ 812 w 903"/>
                  <a:gd name="T1" fmla="*/ 30 h 601"/>
                  <a:gd name="T2" fmla="*/ 512 w 903"/>
                  <a:gd name="T3" fmla="*/ 571 h 601"/>
                  <a:gd name="T4" fmla="*/ 602 w 903"/>
                  <a:gd name="T5" fmla="*/ 571 h 601"/>
                  <a:gd name="T6" fmla="*/ 301 w 903"/>
                  <a:gd name="T7" fmla="*/ 210 h 601"/>
                  <a:gd name="T8" fmla="*/ 301 w 903"/>
                  <a:gd name="T9" fmla="*/ 571 h 601"/>
                  <a:gd name="T10" fmla="*/ 181 w 903"/>
                  <a:gd name="T11" fmla="*/ 421 h 601"/>
                  <a:gd name="T12" fmla="*/ 888 w 903"/>
                  <a:gd name="T13" fmla="*/ 571 h 601"/>
                  <a:gd name="T14" fmla="*/ 842 w 903"/>
                  <a:gd name="T15" fmla="*/ 12 h 601"/>
                  <a:gd name="T16" fmla="*/ 838 w 903"/>
                  <a:gd name="T17" fmla="*/ 5 h 601"/>
                  <a:gd name="T18" fmla="*/ 830 w 903"/>
                  <a:gd name="T19" fmla="*/ 0 h 601"/>
                  <a:gd name="T20" fmla="*/ 704 w 903"/>
                  <a:gd name="T21" fmla="*/ 0 h 601"/>
                  <a:gd name="T22" fmla="*/ 696 w 903"/>
                  <a:gd name="T23" fmla="*/ 5 h 601"/>
                  <a:gd name="T24" fmla="*/ 692 w 903"/>
                  <a:gd name="T25" fmla="*/ 12 h 601"/>
                  <a:gd name="T26" fmla="*/ 632 w 903"/>
                  <a:gd name="T27" fmla="*/ 571 h 601"/>
                  <a:gd name="T28" fmla="*/ 631 w 903"/>
                  <a:gd name="T29" fmla="*/ 280 h 601"/>
                  <a:gd name="T30" fmla="*/ 626 w 903"/>
                  <a:gd name="T31" fmla="*/ 274 h 601"/>
                  <a:gd name="T32" fmla="*/ 617 w 903"/>
                  <a:gd name="T33" fmla="*/ 270 h 601"/>
                  <a:gd name="T34" fmla="*/ 491 w 903"/>
                  <a:gd name="T35" fmla="*/ 271 h 601"/>
                  <a:gd name="T36" fmla="*/ 484 w 903"/>
                  <a:gd name="T37" fmla="*/ 278 h 601"/>
                  <a:gd name="T38" fmla="*/ 482 w 903"/>
                  <a:gd name="T39" fmla="*/ 285 h 601"/>
                  <a:gd name="T40" fmla="*/ 421 w 903"/>
                  <a:gd name="T41" fmla="*/ 195 h 601"/>
                  <a:gd name="T42" fmla="*/ 419 w 903"/>
                  <a:gd name="T43" fmla="*/ 187 h 601"/>
                  <a:gd name="T44" fmla="*/ 412 w 903"/>
                  <a:gd name="T45" fmla="*/ 181 h 601"/>
                  <a:gd name="T46" fmla="*/ 286 w 903"/>
                  <a:gd name="T47" fmla="*/ 180 h 601"/>
                  <a:gd name="T48" fmla="*/ 277 w 903"/>
                  <a:gd name="T49" fmla="*/ 184 h 601"/>
                  <a:gd name="T50" fmla="*/ 272 w 903"/>
                  <a:gd name="T51" fmla="*/ 190 h 601"/>
                  <a:gd name="T52" fmla="*/ 271 w 903"/>
                  <a:gd name="T53" fmla="*/ 571 h 601"/>
                  <a:gd name="T54" fmla="*/ 211 w 903"/>
                  <a:gd name="T55" fmla="*/ 403 h 601"/>
                  <a:gd name="T56" fmla="*/ 207 w 903"/>
                  <a:gd name="T57" fmla="*/ 396 h 601"/>
                  <a:gd name="T58" fmla="*/ 199 w 903"/>
                  <a:gd name="T59" fmla="*/ 391 h 601"/>
                  <a:gd name="T60" fmla="*/ 73 w 903"/>
                  <a:gd name="T61" fmla="*/ 391 h 601"/>
                  <a:gd name="T62" fmla="*/ 65 w 903"/>
                  <a:gd name="T63" fmla="*/ 396 h 601"/>
                  <a:gd name="T64" fmla="*/ 61 w 903"/>
                  <a:gd name="T65" fmla="*/ 403 h 601"/>
                  <a:gd name="T66" fmla="*/ 16 w 903"/>
                  <a:gd name="T67" fmla="*/ 571 h 601"/>
                  <a:gd name="T68" fmla="*/ 7 w 903"/>
                  <a:gd name="T69" fmla="*/ 573 h 601"/>
                  <a:gd name="T70" fmla="*/ 2 w 903"/>
                  <a:gd name="T71" fmla="*/ 581 h 601"/>
                  <a:gd name="T72" fmla="*/ 1 w 903"/>
                  <a:gd name="T73" fmla="*/ 590 h 601"/>
                  <a:gd name="T74" fmla="*/ 5 w 903"/>
                  <a:gd name="T75" fmla="*/ 597 h 601"/>
                  <a:gd name="T76" fmla="*/ 13 w 903"/>
                  <a:gd name="T77" fmla="*/ 601 h 601"/>
                  <a:gd name="T78" fmla="*/ 196 w 903"/>
                  <a:gd name="T79" fmla="*/ 601 h 601"/>
                  <a:gd name="T80" fmla="*/ 497 w 903"/>
                  <a:gd name="T81" fmla="*/ 601 h 601"/>
                  <a:gd name="T82" fmla="*/ 827 w 903"/>
                  <a:gd name="T83" fmla="*/ 601 h 601"/>
                  <a:gd name="T84" fmla="*/ 893 w 903"/>
                  <a:gd name="T85" fmla="*/ 600 h 601"/>
                  <a:gd name="T86" fmla="*/ 900 w 903"/>
                  <a:gd name="T87" fmla="*/ 595 h 601"/>
                  <a:gd name="T88" fmla="*/ 903 w 903"/>
                  <a:gd name="T89" fmla="*/ 586 h 601"/>
                  <a:gd name="T90" fmla="*/ 900 w 903"/>
                  <a:gd name="T91" fmla="*/ 578 h 601"/>
                  <a:gd name="T92" fmla="*/ 893 w 903"/>
                  <a:gd name="T93" fmla="*/ 572 h 6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03" h="601">
                    <a:moveTo>
                      <a:pt x="722" y="571"/>
                    </a:moveTo>
                    <a:lnTo>
                      <a:pt x="722" y="30"/>
                    </a:lnTo>
                    <a:lnTo>
                      <a:pt x="812" y="30"/>
                    </a:lnTo>
                    <a:lnTo>
                      <a:pt x="812" y="571"/>
                    </a:lnTo>
                    <a:lnTo>
                      <a:pt x="722" y="571"/>
                    </a:lnTo>
                    <a:close/>
                    <a:moveTo>
                      <a:pt x="512" y="571"/>
                    </a:moveTo>
                    <a:lnTo>
                      <a:pt x="512" y="300"/>
                    </a:lnTo>
                    <a:lnTo>
                      <a:pt x="602" y="300"/>
                    </a:lnTo>
                    <a:lnTo>
                      <a:pt x="602" y="571"/>
                    </a:lnTo>
                    <a:lnTo>
                      <a:pt x="512" y="571"/>
                    </a:lnTo>
                    <a:close/>
                    <a:moveTo>
                      <a:pt x="301" y="571"/>
                    </a:moveTo>
                    <a:lnTo>
                      <a:pt x="301" y="210"/>
                    </a:lnTo>
                    <a:lnTo>
                      <a:pt x="391" y="210"/>
                    </a:lnTo>
                    <a:lnTo>
                      <a:pt x="391" y="571"/>
                    </a:lnTo>
                    <a:lnTo>
                      <a:pt x="301" y="571"/>
                    </a:lnTo>
                    <a:close/>
                    <a:moveTo>
                      <a:pt x="91" y="571"/>
                    </a:moveTo>
                    <a:lnTo>
                      <a:pt x="91" y="421"/>
                    </a:lnTo>
                    <a:lnTo>
                      <a:pt x="181" y="421"/>
                    </a:lnTo>
                    <a:lnTo>
                      <a:pt x="181" y="571"/>
                    </a:lnTo>
                    <a:lnTo>
                      <a:pt x="91" y="571"/>
                    </a:lnTo>
                    <a:close/>
                    <a:moveTo>
                      <a:pt x="888" y="571"/>
                    </a:moveTo>
                    <a:lnTo>
                      <a:pt x="842" y="571"/>
                    </a:lnTo>
                    <a:lnTo>
                      <a:pt x="842" y="15"/>
                    </a:lnTo>
                    <a:lnTo>
                      <a:pt x="842" y="12"/>
                    </a:lnTo>
                    <a:lnTo>
                      <a:pt x="841" y="9"/>
                    </a:lnTo>
                    <a:lnTo>
                      <a:pt x="840" y="7"/>
                    </a:lnTo>
                    <a:lnTo>
                      <a:pt x="838" y="5"/>
                    </a:lnTo>
                    <a:lnTo>
                      <a:pt x="836" y="3"/>
                    </a:lnTo>
                    <a:lnTo>
                      <a:pt x="833" y="1"/>
                    </a:lnTo>
                    <a:lnTo>
                      <a:pt x="830" y="0"/>
                    </a:lnTo>
                    <a:lnTo>
                      <a:pt x="827" y="0"/>
                    </a:lnTo>
                    <a:lnTo>
                      <a:pt x="707" y="0"/>
                    </a:lnTo>
                    <a:lnTo>
                      <a:pt x="704" y="0"/>
                    </a:lnTo>
                    <a:lnTo>
                      <a:pt x="702" y="1"/>
                    </a:lnTo>
                    <a:lnTo>
                      <a:pt x="698" y="3"/>
                    </a:lnTo>
                    <a:lnTo>
                      <a:pt x="696" y="5"/>
                    </a:lnTo>
                    <a:lnTo>
                      <a:pt x="694" y="7"/>
                    </a:lnTo>
                    <a:lnTo>
                      <a:pt x="693" y="9"/>
                    </a:lnTo>
                    <a:lnTo>
                      <a:pt x="692" y="12"/>
                    </a:lnTo>
                    <a:lnTo>
                      <a:pt x="692" y="15"/>
                    </a:lnTo>
                    <a:lnTo>
                      <a:pt x="692" y="571"/>
                    </a:lnTo>
                    <a:lnTo>
                      <a:pt x="632" y="571"/>
                    </a:lnTo>
                    <a:lnTo>
                      <a:pt x="632" y="285"/>
                    </a:lnTo>
                    <a:lnTo>
                      <a:pt x="632" y="283"/>
                    </a:lnTo>
                    <a:lnTo>
                      <a:pt x="631" y="280"/>
                    </a:lnTo>
                    <a:lnTo>
                      <a:pt x="630" y="278"/>
                    </a:lnTo>
                    <a:lnTo>
                      <a:pt x="628" y="275"/>
                    </a:lnTo>
                    <a:lnTo>
                      <a:pt x="626" y="274"/>
                    </a:lnTo>
                    <a:lnTo>
                      <a:pt x="622" y="271"/>
                    </a:lnTo>
                    <a:lnTo>
                      <a:pt x="620" y="271"/>
                    </a:lnTo>
                    <a:lnTo>
                      <a:pt x="617" y="270"/>
                    </a:lnTo>
                    <a:lnTo>
                      <a:pt x="497" y="270"/>
                    </a:lnTo>
                    <a:lnTo>
                      <a:pt x="494" y="271"/>
                    </a:lnTo>
                    <a:lnTo>
                      <a:pt x="491" y="271"/>
                    </a:lnTo>
                    <a:lnTo>
                      <a:pt x="488" y="274"/>
                    </a:lnTo>
                    <a:lnTo>
                      <a:pt x="486" y="275"/>
                    </a:lnTo>
                    <a:lnTo>
                      <a:pt x="484" y="278"/>
                    </a:lnTo>
                    <a:lnTo>
                      <a:pt x="483" y="280"/>
                    </a:lnTo>
                    <a:lnTo>
                      <a:pt x="482" y="283"/>
                    </a:lnTo>
                    <a:lnTo>
                      <a:pt x="482" y="285"/>
                    </a:lnTo>
                    <a:lnTo>
                      <a:pt x="482" y="571"/>
                    </a:lnTo>
                    <a:lnTo>
                      <a:pt x="421" y="571"/>
                    </a:lnTo>
                    <a:lnTo>
                      <a:pt x="421" y="195"/>
                    </a:lnTo>
                    <a:lnTo>
                      <a:pt x="421" y="192"/>
                    </a:lnTo>
                    <a:lnTo>
                      <a:pt x="420" y="190"/>
                    </a:lnTo>
                    <a:lnTo>
                      <a:pt x="419" y="187"/>
                    </a:lnTo>
                    <a:lnTo>
                      <a:pt x="417" y="185"/>
                    </a:lnTo>
                    <a:lnTo>
                      <a:pt x="415" y="184"/>
                    </a:lnTo>
                    <a:lnTo>
                      <a:pt x="412" y="181"/>
                    </a:lnTo>
                    <a:lnTo>
                      <a:pt x="409" y="180"/>
                    </a:lnTo>
                    <a:lnTo>
                      <a:pt x="406" y="180"/>
                    </a:lnTo>
                    <a:lnTo>
                      <a:pt x="286" y="180"/>
                    </a:lnTo>
                    <a:lnTo>
                      <a:pt x="283" y="180"/>
                    </a:lnTo>
                    <a:lnTo>
                      <a:pt x="281" y="181"/>
                    </a:lnTo>
                    <a:lnTo>
                      <a:pt x="277" y="184"/>
                    </a:lnTo>
                    <a:lnTo>
                      <a:pt x="275" y="185"/>
                    </a:lnTo>
                    <a:lnTo>
                      <a:pt x="274" y="187"/>
                    </a:lnTo>
                    <a:lnTo>
                      <a:pt x="272" y="190"/>
                    </a:lnTo>
                    <a:lnTo>
                      <a:pt x="271" y="192"/>
                    </a:lnTo>
                    <a:lnTo>
                      <a:pt x="271" y="195"/>
                    </a:lnTo>
                    <a:lnTo>
                      <a:pt x="271" y="571"/>
                    </a:lnTo>
                    <a:lnTo>
                      <a:pt x="211" y="571"/>
                    </a:lnTo>
                    <a:lnTo>
                      <a:pt x="211" y="406"/>
                    </a:lnTo>
                    <a:lnTo>
                      <a:pt x="211" y="403"/>
                    </a:lnTo>
                    <a:lnTo>
                      <a:pt x="210" y="400"/>
                    </a:lnTo>
                    <a:lnTo>
                      <a:pt x="209" y="398"/>
                    </a:lnTo>
                    <a:lnTo>
                      <a:pt x="207" y="396"/>
                    </a:lnTo>
                    <a:lnTo>
                      <a:pt x="205" y="394"/>
                    </a:lnTo>
                    <a:lnTo>
                      <a:pt x="201" y="392"/>
                    </a:lnTo>
                    <a:lnTo>
                      <a:pt x="199" y="391"/>
                    </a:lnTo>
                    <a:lnTo>
                      <a:pt x="196" y="391"/>
                    </a:lnTo>
                    <a:lnTo>
                      <a:pt x="76" y="391"/>
                    </a:lnTo>
                    <a:lnTo>
                      <a:pt x="73" y="391"/>
                    </a:lnTo>
                    <a:lnTo>
                      <a:pt x="70" y="392"/>
                    </a:lnTo>
                    <a:lnTo>
                      <a:pt x="67" y="394"/>
                    </a:lnTo>
                    <a:lnTo>
                      <a:pt x="65" y="396"/>
                    </a:lnTo>
                    <a:lnTo>
                      <a:pt x="63" y="398"/>
                    </a:lnTo>
                    <a:lnTo>
                      <a:pt x="62" y="400"/>
                    </a:lnTo>
                    <a:lnTo>
                      <a:pt x="61" y="403"/>
                    </a:lnTo>
                    <a:lnTo>
                      <a:pt x="61" y="406"/>
                    </a:lnTo>
                    <a:lnTo>
                      <a:pt x="61" y="571"/>
                    </a:lnTo>
                    <a:lnTo>
                      <a:pt x="16" y="571"/>
                    </a:lnTo>
                    <a:lnTo>
                      <a:pt x="13" y="571"/>
                    </a:lnTo>
                    <a:lnTo>
                      <a:pt x="10" y="572"/>
                    </a:lnTo>
                    <a:lnTo>
                      <a:pt x="7" y="573"/>
                    </a:lnTo>
                    <a:lnTo>
                      <a:pt x="5" y="576"/>
                    </a:lnTo>
                    <a:lnTo>
                      <a:pt x="3" y="578"/>
                    </a:lnTo>
                    <a:lnTo>
                      <a:pt x="2" y="581"/>
                    </a:lnTo>
                    <a:lnTo>
                      <a:pt x="1" y="583"/>
                    </a:lnTo>
                    <a:lnTo>
                      <a:pt x="0" y="586"/>
                    </a:lnTo>
                    <a:lnTo>
                      <a:pt x="1" y="590"/>
                    </a:lnTo>
                    <a:lnTo>
                      <a:pt x="2" y="593"/>
                    </a:lnTo>
                    <a:lnTo>
                      <a:pt x="3" y="595"/>
                    </a:lnTo>
                    <a:lnTo>
                      <a:pt x="5" y="597"/>
                    </a:lnTo>
                    <a:lnTo>
                      <a:pt x="7" y="599"/>
                    </a:lnTo>
                    <a:lnTo>
                      <a:pt x="10" y="600"/>
                    </a:lnTo>
                    <a:lnTo>
                      <a:pt x="13" y="601"/>
                    </a:lnTo>
                    <a:lnTo>
                      <a:pt x="16" y="601"/>
                    </a:lnTo>
                    <a:lnTo>
                      <a:pt x="76" y="601"/>
                    </a:lnTo>
                    <a:lnTo>
                      <a:pt x="196" y="601"/>
                    </a:lnTo>
                    <a:lnTo>
                      <a:pt x="286" y="601"/>
                    </a:lnTo>
                    <a:lnTo>
                      <a:pt x="406" y="601"/>
                    </a:lnTo>
                    <a:lnTo>
                      <a:pt x="497" y="601"/>
                    </a:lnTo>
                    <a:lnTo>
                      <a:pt x="617" y="601"/>
                    </a:lnTo>
                    <a:lnTo>
                      <a:pt x="707" y="601"/>
                    </a:lnTo>
                    <a:lnTo>
                      <a:pt x="827" y="601"/>
                    </a:lnTo>
                    <a:lnTo>
                      <a:pt x="888" y="601"/>
                    </a:lnTo>
                    <a:lnTo>
                      <a:pt x="890" y="601"/>
                    </a:lnTo>
                    <a:lnTo>
                      <a:pt x="893" y="600"/>
                    </a:lnTo>
                    <a:lnTo>
                      <a:pt x="896" y="599"/>
                    </a:lnTo>
                    <a:lnTo>
                      <a:pt x="898" y="597"/>
                    </a:lnTo>
                    <a:lnTo>
                      <a:pt x="900" y="595"/>
                    </a:lnTo>
                    <a:lnTo>
                      <a:pt x="901" y="593"/>
                    </a:lnTo>
                    <a:lnTo>
                      <a:pt x="902" y="590"/>
                    </a:lnTo>
                    <a:lnTo>
                      <a:pt x="903" y="586"/>
                    </a:lnTo>
                    <a:lnTo>
                      <a:pt x="902" y="583"/>
                    </a:lnTo>
                    <a:lnTo>
                      <a:pt x="901" y="581"/>
                    </a:lnTo>
                    <a:lnTo>
                      <a:pt x="900" y="578"/>
                    </a:lnTo>
                    <a:lnTo>
                      <a:pt x="898" y="576"/>
                    </a:lnTo>
                    <a:lnTo>
                      <a:pt x="896" y="573"/>
                    </a:lnTo>
                    <a:lnTo>
                      <a:pt x="893" y="572"/>
                    </a:lnTo>
                    <a:lnTo>
                      <a:pt x="890" y="571"/>
                    </a:lnTo>
                    <a:lnTo>
                      <a:pt x="888" y="5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" name="Freeform 215">
                <a:extLst>
                  <a:ext uri="{FF2B5EF4-FFF2-40B4-BE49-F238E27FC236}">
                    <a16:creationId xmlns:a16="http://schemas.microsoft.com/office/drawing/2014/main" id="{25245AB9-1E10-4632-ABBC-B8551AC1A4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74325" y="2498725"/>
                <a:ext cx="252413" cy="157163"/>
              </a:xfrm>
              <a:custGeom>
                <a:avLst/>
                <a:gdLst>
                  <a:gd name="T0" fmla="*/ 83 w 796"/>
                  <a:gd name="T1" fmla="*/ 417 h 496"/>
                  <a:gd name="T2" fmla="*/ 89 w 796"/>
                  <a:gd name="T3" fmla="*/ 431 h 496"/>
                  <a:gd name="T4" fmla="*/ 76 w 796"/>
                  <a:gd name="T5" fmla="*/ 461 h 496"/>
                  <a:gd name="T6" fmla="*/ 43 w 796"/>
                  <a:gd name="T7" fmla="*/ 461 h 496"/>
                  <a:gd name="T8" fmla="*/ 30 w 796"/>
                  <a:gd name="T9" fmla="*/ 430 h 496"/>
                  <a:gd name="T10" fmla="*/ 54 w 796"/>
                  <a:gd name="T11" fmla="*/ 407 h 496"/>
                  <a:gd name="T12" fmla="*/ 302 w 796"/>
                  <a:gd name="T13" fmla="*/ 216 h 496"/>
                  <a:gd name="T14" fmla="*/ 315 w 796"/>
                  <a:gd name="T15" fmla="*/ 247 h 496"/>
                  <a:gd name="T16" fmla="*/ 291 w 796"/>
                  <a:gd name="T17" fmla="*/ 270 h 496"/>
                  <a:gd name="T18" fmla="*/ 260 w 796"/>
                  <a:gd name="T19" fmla="*/ 257 h 496"/>
                  <a:gd name="T20" fmla="*/ 260 w 796"/>
                  <a:gd name="T21" fmla="*/ 224 h 496"/>
                  <a:gd name="T22" fmla="*/ 511 w 796"/>
                  <a:gd name="T23" fmla="*/ 301 h 496"/>
                  <a:gd name="T24" fmla="*/ 530 w 796"/>
                  <a:gd name="T25" fmla="*/ 308 h 496"/>
                  <a:gd name="T26" fmla="*/ 541 w 796"/>
                  <a:gd name="T27" fmla="*/ 331 h 496"/>
                  <a:gd name="T28" fmla="*/ 523 w 796"/>
                  <a:gd name="T29" fmla="*/ 359 h 496"/>
                  <a:gd name="T30" fmla="*/ 490 w 796"/>
                  <a:gd name="T31" fmla="*/ 353 h 496"/>
                  <a:gd name="T32" fmla="*/ 483 w 796"/>
                  <a:gd name="T33" fmla="*/ 320 h 496"/>
                  <a:gd name="T34" fmla="*/ 511 w 796"/>
                  <a:gd name="T35" fmla="*/ 301 h 496"/>
                  <a:gd name="T36" fmla="*/ 757 w 796"/>
                  <a:gd name="T37" fmla="*/ 39 h 496"/>
                  <a:gd name="T38" fmla="*/ 764 w 796"/>
                  <a:gd name="T39" fmla="*/ 72 h 496"/>
                  <a:gd name="T40" fmla="*/ 736 w 796"/>
                  <a:gd name="T41" fmla="*/ 90 h 496"/>
                  <a:gd name="T42" fmla="*/ 708 w 796"/>
                  <a:gd name="T43" fmla="*/ 72 h 496"/>
                  <a:gd name="T44" fmla="*/ 716 w 796"/>
                  <a:gd name="T45" fmla="*/ 39 h 496"/>
                  <a:gd name="T46" fmla="*/ 60 w 796"/>
                  <a:gd name="T47" fmla="*/ 496 h 496"/>
                  <a:gd name="T48" fmla="*/ 93 w 796"/>
                  <a:gd name="T49" fmla="*/ 487 h 496"/>
                  <a:gd name="T50" fmla="*/ 115 w 796"/>
                  <a:gd name="T51" fmla="*/ 460 h 496"/>
                  <a:gd name="T52" fmla="*/ 118 w 796"/>
                  <a:gd name="T53" fmla="*/ 422 h 496"/>
                  <a:gd name="T54" fmla="*/ 276 w 796"/>
                  <a:gd name="T55" fmla="*/ 300 h 496"/>
                  <a:gd name="T56" fmla="*/ 318 w 796"/>
                  <a:gd name="T57" fmla="*/ 291 h 496"/>
                  <a:gd name="T58" fmla="*/ 451 w 796"/>
                  <a:gd name="T59" fmla="*/ 331 h 496"/>
                  <a:gd name="T60" fmla="*/ 461 w 796"/>
                  <a:gd name="T61" fmla="*/ 365 h 496"/>
                  <a:gd name="T62" fmla="*/ 487 w 796"/>
                  <a:gd name="T63" fmla="*/ 387 h 496"/>
                  <a:gd name="T64" fmla="*/ 523 w 796"/>
                  <a:gd name="T65" fmla="*/ 390 h 496"/>
                  <a:gd name="T66" fmla="*/ 554 w 796"/>
                  <a:gd name="T67" fmla="*/ 373 h 496"/>
                  <a:gd name="T68" fmla="*/ 570 w 796"/>
                  <a:gd name="T69" fmla="*/ 343 h 496"/>
                  <a:gd name="T70" fmla="*/ 559 w 796"/>
                  <a:gd name="T71" fmla="*/ 296 h 496"/>
                  <a:gd name="T72" fmla="*/ 742 w 796"/>
                  <a:gd name="T73" fmla="*/ 120 h 496"/>
                  <a:gd name="T74" fmla="*/ 775 w 796"/>
                  <a:gd name="T75" fmla="*/ 106 h 496"/>
                  <a:gd name="T76" fmla="*/ 794 w 796"/>
                  <a:gd name="T77" fmla="*/ 79 h 496"/>
                  <a:gd name="T78" fmla="*/ 794 w 796"/>
                  <a:gd name="T79" fmla="*/ 43 h 496"/>
                  <a:gd name="T80" fmla="*/ 775 w 796"/>
                  <a:gd name="T81" fmla="*/ 14 h 496"/>
                  <a:gd name="T82" fmla="*/ 742 w 796"/>
                  <a:gd name="T83" fmla="*/ 0 h 496"/>
                  <a:gd name="T84" fmla="*/ 708 w 796"/>
                  <a:gd name="T85" fmla="*/ 8 h 496"/>
                  <a:gd name="T86" fmla="*/ 683 w 796"/>
                  <a:gd name="T87" fmla="*/ 31 h 496"/>
                  <a:gd name="T88" fmla="*/ 677 w 796"/>
                  <a:gd name="T89" fmla="*/ 70 h 496"/>
                  <a:gd name="T90" fmla="*/ 524 w 796"/>
                  <a:gd name="T91" fmla="*/ 272 h 496"/>
                  <a:gd name="T92" fmla="*/ 483 w 796"/>
                  <a:gd name="T93" fmla="*/ 278 h 496"/>
                  <a:gd name="T94" fmla="*/ 345 w 796"/>
                  <a:gd name="T95" fmla="*/ 245 h 496"/>
                  <a:gd name="T96" fmla="*/ 339 w 796"/>
                  <a:gd name="T97" fmla="*/ 212 h 496"/>
                  <a:gd name="T98" fmla="*/ 314 w 796"/>
                  <a:gd name="T99" fmla="*/ 188 h 496"/>
                  <a:gd name="T100" fmla="*/ 280 w 796"/>
                  <a:gd name="T101" fmla="*/ 181 h 496"/>
                  <a:gd name="T102" fmla="*/ 247 w 796"/>
                  <a:gd name="T103" fmla="*/ 194 h 496"/>
                  <a:gd name="T104" fmla="*/ 228 w 796"/>
                  <a:gd name="T105" fmla="*/ 223 h 496"/>
                  <a:gd name="T106" fmla="*/ 229 w 796"/>
                  <a:gd name="T107" fmla="*/ 262 h 496"/>
                  <a:gd name="T108" fmla="*/ 60 w 796"/>
                  <a:gd name="T109" fmla="*/ 376 h 496"/>
                  <a:gd name="T110" fmla="*/ 26 w 796"/>
                  <a:gd name="T111" fmla="*/ 387 h 496"/>
                  <a:gd name="T112" fmla="*/ 4 w 796"/>
                  <a:gd name="T113" fmla="*/ 413 h 496"/>
                  <a:gd name="T114" fmla="*/ 1 w 796"/>
                  <a:gd name="T115" fmla="*/ 448 h 496"/>
                  <a:gd name="T116" fmla="*/ 17 w 796"/>
                  <a:gd name="T117" fmla="*/ 479 h 496"/>
                  <a:gd name="T118" fmla="*/ 47 w 796"/>
                  <a:gd name="T119" fmla="*/ 495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96" h="496">
                    <a:moveTo>
                      <a:pt x="60" y="406"/>
                    </a:moveTo>
                    <a:lnTo>
                      <a:pt x="66" y="407"/>
                    </a:lnTo>
                    <a:lnTo>
                      <a:pt x="73" y="410"/>
                    </a:lnTo>
                    <a:lnTo>
                      <a:pt x="78" y="413"/>
                    </a:lnTo>
                    <a:lnTo>
                      <a:pt x="83" y="417"/>
                    </a:lnTo>
                    <a:lnTo>
                      <a:pt x="83" y="417"/>
                    </a:lnTo>
                    <a:lnTo>
                      <a:pt x="83" y="417"/>
                    </a:lnTo>
                    <a:lnTo>
                      <a:pt x="83" y="417"/>
                    </a:lnTo>
                    <a:lnTo>
                      <a:pt x="83" y="417"/>
                    </a:lnTo>
                    <a:lnTo>
                      <a:pt x="86" y="421"/>
                    </a:lnTo>
                    <a:lnTo>
                      <a:pt x="88" y="426"/>
                    </a:lnTo>
                    <a:lnTo>
                      <a:pt x="89" y="431"/>
                    </a:lnTo>
                    <a:lnTo>
                      <a:pt x="90" y="436"/>
                    </a:lnTo>
                    <a:lnTo>
                      <a:pt x="89" y="443"/>
                    </a:lnTo>
                    <a:lnTo>
                      <a:pt x="88" y="448"/>
                    </a:lnTo>
                    <a:lnTo>
                      <a:pt x="85" y="453"/>
                    </a:lnTo>
                    <a:lnTo>
                      <a:pt x="81" y="458"/>
                    </a:lnTo>
                    <a:lnTo>
                      <a:pt x="76" y="461"/>
                    </a:lnTo>
                    <a:lnTo>
                      <a:pt x="72" y="464"/>
                    </a:lnTo>
                    <a:lnTo>
                      <a:pt x="65" y="466"/>
                    </a:lnTo>
                    <a:lnTo>
                      <a:pt x="60" y="466"/>
                    </a:lnTo>
                    <a:lnTo>
                      <a:pt x="54" y="466"/>
                    </a:lnTo>
                    <a:lnTo>
                      <a:pt x="48" y="464"/>
                    </a:lnTo>
                    <a:lnTo>
                      <a:pt x="43" y="461"/>
                    </a:lnTo>
                    <a:lnTo>
                      <a:pt x="39" y="458"/>
                    </a:lnTo>
                    <a:lnTo>
                      <a:pt x="34" y="453"/>
                    </a:lnTo>
                    <a:lnTo>
                      <a:pt x="32" y="448"/>
                    </a:lnTo>
                    <a:lnTo>
                      <a:pt x="30" y="443"/>
                    </a:lnTo>
                    <a:lnTo>
                      <a:pt x="30" y="436"/>
                    </a:lnTo>
                    <a:lnTo>
                      <a:pt x="30" y="430"/>
                    </a:lnTo>
                    <a:lnTo>
                      <a:pt x="32" y="425"/>
                    </a:lnTo>
                    <a:lnTo>
                      <a:pt x="34" y="419"/>
                    </a:lnTo>
                    <a:lnTo>
                      <a:pt x="39" y="415"/>
                    </a:lnTo>
                    <a:lnTo>
                      <a:pt x="43" y="412"/>
                    </a:lnTo>
                    <a:lnTo>
                      <a:pt x="48" y="409"/>
                    </a:lnTo>
                    <a:lnTo>
                      <a:pt x="54" y="407"/>
                    </a:lnTo>
                    <a:lnTo>
                      <a:pt x="60" y="406"/>
                    </a:lnTo>
                    <a:lnTo>
                      <a:pt x="60" y="406"/>
                    </a:lnTo>
                    <a:close/>
                    <a:moveTo>
                      <a:pt x="285" y="211"/>
                    </a:moveTo>
                    <a:lnTo>
                      <a:pt x="291" y="211"/>
                    </a:lnTo>
                    <a:lnTo>
                      <a:pt x="297" y="214"/>
                    </a:lnTo>
                    <a:lnTo>
                      <a:pt x="302" y="216"/>
                    </a:lnTo>
                    <a:lnTo>
                      <a:pt x="306" y="220"/>
                    </a:lnTo>
                    <a:lnTo>
                      <a:pt x="311" y="224"/>
                    </a:lnTo>
                    <a:lnTo>
                      <a:pt x="313" y="230"/>
                    </a:lnTo>
                    <a:lnTo>
                      <a:pt x="315" y="235"/>
                    </a:lnTo>
                    <a:lnTo>
                      <a:pt x="315" y="241"/>
                    </a:lnTo>
                    <a:lnTo>
                      <a:pt x="315" y="247"/>
                    </a:lnTo>
                    <a:lnTo>
                      <a:pt x="313" y="253"/>
                    </a:lnTo>
                    <a:lnTo>
                      <a:pt x="311" y="257"/>
                    </a:lnTo>
                    <a:lnTo>
                      <a:pt x="306" y="262"/>
                    </a:lnTo>
                    <a:lnTo>
                      <a:pt x="302" y="266"/>
                    </a:lnTo>
                    <a:lnTo>
                      <a:pt x="297" y="268"/>
                    </a:lnTo>
                    <a:lnTo>
                      <a:pt x="291" y="270"/>
                    </a:lnTo>
                    <a:lnTo>
                      <a:pt x="285" y="271"/>
                    </a:lnTo>
                    <a:lnTo>
                      <a:pt x="280" y="270"/>
                    </a:lnTo>
                    <a:lnTo>
                      <a:pt x="273" y="268"/>
                    </a:lnTo>
                    <a:lnTo>
                      <a:pt x="269" y="266"/>
                    </a:lnTo>
                    <a:lnTo>
                      <a:pt x="264" y="262"/>
                    </a:lnTo>
                    <a:lnTo>
                      <a:pt x="260" y="257"/>
                    </a:lnTo>
                    <a:lnTo>
                      <a:pt x="257" y="253"/>
                    </a:lnTo>
                    <a:lnTo>
                      <a:pt x="256" y="247"/>
                    </a:lnTo>
                    <a:lnTo>
                      <a:pt x="255" y="241"/>
                    </a:lnTo>
                    <a:lnTo>
                      <a:pt x="256" y="235"/>
                    </a:lnTo>
                    <a:lnTo>
                      <a:pt x="257" y="230"/>
                    </a:lnTo>
                    <a:lnTo>
                      <a:pt x="260" y="224"/>
                    </a:lnTo>
                    <a:lnTo>
                      <a:pt x="264" y="220"/>
                    </a:lnTo>
                    <a:lnTo>
                      <a:pt x="269" y="216"/>
                    </a:lnTo>
                    <a:lnTo>
                      <a:pt x="273" y="214"/>
                    </a:lnTo>
                    <a:lnTo>
                      <a:pt x="280" y="211"/>
                    </a:lnTo>
                    <a:lnTo>
                      <a:pt x="285" y="211"/>
                    </a:lnTo>
                    <a:close/>
                    <a:moveTo>
                      <a:pt x="511" y="301"/>
                    </a:moveTo>
                    <a:lnTo>
                      <a:pt x="516" y="301"/>
                    </a:lnTo>
                    <a:lnTo>
                      <a:pt x="521" y="302"/>
                    </a:lnTo>
                    <a:lnTo>
                      <a:pt x="526" y="306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5" y="313"/>
                    </a:lnTo>
                    <a:lnTo>
                      <a:pt x="538" y="319"/>
                    </a:lnTo>
                    <a:lnTo>
                      <a:pt x="540" y="325"/>
                    </a:lnTo>
                    <a:lnTo>
                      <a:pt x="541" y="331"/>
                    </a:lnTo>
                    <a:lnTo>
                      <a:pt x="540" y="337"/>
                    </a:lnTo>
                    <a:lnTo>
                      <a:pt x="539" y="343"/>
                    </a:lnTo>
                    <a:lnTo>
                      <a:pt x="536" y="347"/>
                    </a:lnTo>
                    <a:lnTo>
                      <a:pt x="532" y="353"/>
                    </a:lnTo>
                    <a:lnTo>
                      <a:pt x="527" y="356"/>
                    </a:lnTo>
                    <a:lnTo>
                      <a:pt x="523" y="359"/>
                    </a:lnTo>
                    <a:lnTo>
                      <a:pt x="516" y="360"/>
                    </a:lnTo>
                    <a:lnTo>
                      <a:pt x="511" y="361"/>
                    </a:lnTo>
                    <a:lnTo>
                      <a:pt x="505" y="360"/>
                    </a:lnTo>
                    <a:lnTo>
                      <a:pt x="499" y="359"/>
                    </a:lnTo>
                    <a:lnTo>
                      <a:pt x="494" y="356"/>
                    </a:lnTo>
                    <a:lnTo>
                      <a:pt x="490" y="353"/>
                    </a:lnTo>
                    <a:lnTo>
                      <a:pt x="486" y="349"/>
                    </a:lnTo>
                    <a:lnTo>
                      <a:pt x="483" y="343"/>
                    </a:lnTo>
                    <a:lnTo>
                      <a:pt x="481" y="337"/>
                    </a:lnTo>
                    <a:lnTo>
                      <a:pt x="481" y="331"/>
                    </a:lnTo>
                    <a:lnTo>
                      <a:pt x="481" y="325"/>
                    </a:lnTo>
                    <a:lnTo>
                      <a:pt x="483" y="320"/>
                    </a:lnTo>
                    <a:lnTo>
                      <a:pt x="486" y="314"/>
                    </a:lnTo>
                    <a:lnTo>
                      <a:pt x="490" y="310"/>
                    </a:lnTo>
                    <a:lnTo>
                      <a:pt x="494" y="307"/>
                    </a:lnTo>
                    <a:lnTo>
                      <a:pt x="499" y="304"/>
                    </a:lnTo>
                    <a:lnTo>
                      <a:pt x="505" y="301"/>
                    </a:lnTo>
                    <a:lnTo>
                      <a:pt x="511" y="301"/>
                    </a:lnTo>
                    <a:lnTo>
                      <a:pt x="511" y="301"/>
                    </a:lnTo>
                    <a:close/>
                    <a:moveTo>
                      <a:pt x="736" y="30"/>
                    </a:moveTo>
                    <a:lnTo>
                      <a:pt x="742" y="31"/>
                    </a:lnTo>
                    <a:lnTo>
                      <a:pt x="748" y="33"/>
                    </a:lnTo>
                    <a:lnTo>
                      <a:pt x="753" y="36"/>
                    </a:lnTo>
                    <a:lnTo>
                      <a:pt x="757" y="39"/>
                    </a:lnTo>
                    <a:lnTo>
                      <a:pt x="762" y="43"/>
                    </a:lnTo>
                    <a:lnTo>
                      <a:pt x="764" y="49"/>
                    </a:lnTo>
                    <a:lnTo>
                      <a:pt x="766" y="55"/>
                    </a:lnTo>
                    <a:lnTo>
                      <a:pt x="766" y="60"/>
                    </a:lnTo>
                    <a:lnTo>
                      <a:pt x="766" y="67"/>
                    </a:lnTo>
                    <a:lnTo>
                      <a:pt x="764" y="72"/>
                    </a:lnTo>
                    <a:lnTo>
                      <a:pt x="762" y="78"/>
                    </a:lnTo>
                    <a:lnTo>
                      <a:pt x="757" y="82"/>
                    </a:lnTo>
                    <a:lnTo>
                      <a:pt x="753" y="85"/>
                    </a:lnTo>
                    <a:lnTo>
                      <a:pt x="748" y="88"/>
                    </a:lnTo>
                    <a:lnTo>
                      <a:pt x="742" y="90"/>
                    </a:lnTo>
                    <a:lnTo>
                      <a:pt x="736" y="90"/>
                    </a:lnTo>
                    <a:lnTo>
                      <a:pt x="731" y="90"/>
                    </a:lnTo>
                    <a:lnTo>
                      <a:pt x="724" y="88"/>
                    </a:lnTo>
                    <a:lnTo>
                      <a:pt x="720" y="85"/>
                    </a:lnTo>
                    <a:lnTo>
                      <a:pt x="716" y="82"/>
                    </a:lnTo>
                    <a:lnTo>
                      <a:pt x="711" y="78"/>
                    </a:lnTo>
                    <a:lnTo>
                      <a:pt x="708" y="72"/>
                    </a:lnTo>
                    <a:lnTo>
                      <a:pt x="707" y="67"/>
                    </a:lnTo>
                    <a:lnTo>
                      <a:pt x="706" y="60"/>
                    </a:lnTo>
                    <a:lnTo>
                      <a:pt x="707" y="55"/>
                    </a:lnTo>
                    <a:lnTo>
                      <a:pt x="708" y="49"/>
                    </a:lnTo>
                    <a:lnTo>
                      <a:pt x="711" y="43"/>
                    </a:lnTo>
                    <a:lnTo>
                      <a:pt x="716" y="39"/>
                    </a:lnTo>
                    <a:lnTo>
                      <a:pt x="720" y="36"/>
                    </a:lnTo>
                    <a:lnTo>
                      <a:pt x="724" y="33"/>
                    </a:lnTo>
                    <a:lnTo>
                      <a:pt x="731" y="31"/>
                    </a:lnTo>
                    <a:lnTo>
                      <a:pt x="736" y="30"/>
                    </a:lnTo>
                    <a:lnTo>
                      <a:pt x="736" y="30"/>
                    </a:lnTo>
                    <a:close/>
                    <a:moveTo>
                      <a:pt x="60" y="496"/>
                    </a:moveTo>
                    <a:lnTo>
                      <a:pt x="66" y="496"/>
                    </a:lnTo>
                    <a:lnTo>
                      <a:pt x="72" y="495"/>
                    </a:lnTo>
                    <a:lnTo>
                      <a:pt x="77" y="494"/>
                    </a:lnTo>
                    <a:lnTo>
                      <a:pt x="84" y="492"/>
                    </a:lnTo>
                    <a:lnTo>
                      <a:pt x="89" y="489"/>
                    </a:lnTo>
                    <a:lnTo>
                      <a:pt x="93" y="487"/>
                    </a:lnTo>
                    <a:lnTo>
                      <a:pt x="98" y="482"/>
                    </a:lnTo>
                    <a:lnTo>
                      <a:pt x="102" y="479"/>
                    </a:lnTo>
                    <a:lnTo>
                      <a:pt x="106" y="475"/>
                    </a:lnTo>
                    <a:lnTo>
                      <a:pt x="109" y="470"/>
                    </a:lnTo>
                    <a:lnTo>
                      <a:pt x="113" y="465"/>
                    </a:lnTo>
                    <a:lnTo>
                      <a:pt x="115" y="460"/>
                    </a:lnTo>
                    <a:lnTo>
                      <a:pt x="117" y="455"/>
                    </a:lnTo>
                    <a:lnTo>
                      <a:pt x="119" y="448"/>
                    </a:lnTo>
                    <a:lnTo>
                      <a:pt x="120" y="443"/>
                    </a:lnTo>
                    <a:lnTo>
                      <a:pt x="120" y="436"/>
                    </a:lnTo>
                    <a:lnTo>
                      <a:pt x="119" y="429"/>
                    </a:lnTo>
                    <a:lnTo>
                      <a:pt x="118" y="422"/>
                    </a:lnTo>
                    <a:lnTo>
                      <a:pt x="116" y="416"/>
                    </a:lnTo>
                    <a:lnTo>
                      <a:pt x="114" y="410"/>
                    </a:lnTo>
                    <a:lnTo>
                      <a:pt x="251" y="291"/>
                    </a:lnTo>
                    <a:lnTo>
                      <a:pt x="259" y="295"/>
                    </a:lnTo>
                    <a:lnTo>
                      <a:pt x="267" y="298"/>
                    </a:lnTo>
                    <a:lnTo>
                      <a:pt x="276" y="300"/>
                    </a:lnTo>
                    <a:lnTo>
                      <a:pt x="285" y="301"/>
                    </a:lnTo>
                    <a:lnTo>
                      <a:pt x="292" y="300"/>
                    </a:lnTo>
                    <a:lnTo>
                      <a:pt x="300" y="299"/>
                    </a:lnTo>
                    <a:lnTo>
                      <a:pt x="306" y="297"/>
                    </a:lnTo>
                    <a:lnTo>
                      <a:pt x="313" y="294"/>
                    </a:lnTo>
                    <a:lnTo>
                      <a:pt x="318" y="291"/>
                    </a:lnTo>
                    <a:lnTo>
                      <a:pt x="325" y="286"/>
                    </a:lnTo>
                    <a:lnTo>
                      <a:pt x="329" y="282"/>
                    </a:lnTo>
                    <a:lnTo>
                      <a:pt x="333" y="277"/>
                    </a:lnTo>
                    <a:lnTo>
                      <a:pt x="451" y="324"/>
                    </a:lnTo>
                    <a:lnTo>
                      <a:pt x="451" y="327"/>
                    </a:lnTo>
                    <a:lnTo>
                      <a:pt x="451" y="331"/>
                    </a:lnTo>
                    <a:lnTo>
                      <a:pt x="451" y="338"/>
                    </a:lnTo>
                    <a:lnTo>
                      <a:pt x="452" y="343"/>
                    </a:lnTo>
                    <a:lnTo>
                      <a:pt x="453" y="350"/>
                    </a:lnTo>
                    <a:lnTo>
                      <a:pt x="455" y="355"/>
                    </a:lnTo>
                    <a:lnTo>
                      <a:pt x="457" y="360"/>
                    </a:lnTo>
                    <a:lnTo>
                      <a:pt x="461" y="365"/>
                    </a:lnTo>
                    <a:lnTo>
                      <a:pt x="464" y="370"/>
                    </a:lnTo>
                    <a:lnTo>
                      <a:pt x="468" y="374"/>
                    </a:lnTo>
                    <a:lnTo>
                      <a:pt x="472" y="377"/>
                    </a:lnTo>
                    <a:lnTo>
                      <a:pt x="477" y="381"/>
                    </a:lnTo>
                    <a:lnTo>
                      <a:pt x="482" y="384"/>
                    </a:lnTo>
                    <a:lnTo>
                      <a:pt x="487" y="387"/>
                    </a:lnTo>
                    <a:lnTo>
                      <a:pt x="493" y="388"/>
                    </a:lnTo>
                    <a:lnTo>
                      <a:pt x="498" y="390"/>
                    </a:lnTo>
                    <a:lnTo>
                      <a:pt x="505" y="391"/>
                    </a:lnTo>
                    <a:lnTo>
                      <a:pt x="511" y="391"/>
                    </a:lnTo>
                    <a:lnTo>
                      <a:pt x="517" y="391"/>
                    </a:lnTo>
                    <a:lnTo>
                      <a:pt x="523" y="390"/>
                    </a:lnTo>
                    <a:lnTo>
                      <a:pt x="529" y="388"/>
                    </a:lnTo>
                    <a:lnTo>
                      <a:pt x="535" y="387"/>
                    </a:lnTo>
                    <a:lnTo>
                      <a:pt x="540" y="384"/>
                    </a:lnTo>
                    <a:lnTo>
                      <a:pt x="544" y="381"/>
                    </a:lnTo>
                    <a:lnTo>
                      <a:pt x="550" y="377"/>
                    </a:lnTo>
                    <a:lnTo>
                      <a:pt x="554" y="373"/>
                    </a:lnTo>
                    <a:lnTo>
                      <a:pt x="557" y="370"/>
                    </a:lnTo>
                    <a:lnTo>
                      <a:pt x="560" y="365"/>
                    </a:lnTo>
                    <a:lnTo>
                      <a:pt x="564" y="360"/>
                    </a:lnTo>
                    <a:lnTo>
                      <a:pt x="567" y="355"/>
                    </a:lnTo>
                    <a:lnTo>
                      <a:pt x="568" y="350"/>
                    </a:lnTo>
                    <a:lnTo>
                      <a:pt x="570" y="343"/>
                    </a:lnTo>
                    <a:lnTo>
                      <a:pt x="571" y="338"/>
                    </a:lnTo>
                    <a:lnTo>
                      <a:pt x="571" y="331"/>
                    </a:lnTo>
                    <a:lnTo>
                      <a:pt x="570" y="322"/>
                    </a:lnTo>
                    <a:lnTo>
                      <a:pt x="568" y="312"/>
                    </a:lnTo>
                    <a:lnTo>
                      <a:pt x="565" y="304"/>
                    </a:lnTo>
                    <a:lnTo>
                      <a:pt x="559" y="296"/>
                    </a:lnTo>
                    <a:lnTo>
                      <a:pt x="710" y="115"/>
                    </a:lnTo>
                    <a:lnTo>
                      <a:pt x="717" y="117"/>
                    </a:lnTo>
                    <a:lnTo>
                      <a:pt x="723" y="119"/>
                    </a:lnTo>
                    <a:lnTo>
                      <a:pt x="730" y="120"/>
                    </a:lnTo>
                    <a:lnTo>
                      <a:pt x="736" y="120"/>
                    </a:lnTo>
                    <a:lnTo>
                      <a:pt x="742" y="120"/>
                    </a:lnTo>
                    <a:lnTo>
                      <a:pt x="749" y="119"/>
                    </a:lnTo>
                    <a:lnTo>
                      <a:pt x="754" y="118"/>
                    </a:lnTo>
                    <a:lnTo>
                      <a:pt x="760" y="116"/>
                    </a:lnTo>
                    <a:lnTo>
                      <a:pt x="765" y="114"/>
                    </a:lnTo>
                    <a:lnTo>
                      <a:pt x="770" y="111"/>
                    </a:lnTo>
                    <a:lnTo>
                      <a:pt x="775" y="106"/>
                    </a:lnTo>
                    <a:lnTo>
                      <a:pt x="779" y="103"/>
                    </a:lnTo>
                    <a:lnTo>
                      <a:pt x="783" y="99"/>
                    </a:lnTo>
                    <a:lnTo>
                      <a:pt x="786" y="95"/>
                    </a:lnTo>
                    <a:lnTo>
                      <a:pt x="790" y="89"/>
                    </a:lnTo>
                    <a:lnTo>
                      <a:pt x="792" y="84"/>
                    </a:lnTo>
                    <a:lnTo>
                      <a:pt x="794" y="79"/>
                    </a:lnTo>
                    <a:lnTo>
                      <a:pt x="795" y="73"/>
                    </a:lnTo>
                    <a:lnTo>
                      <a:pt x="796" y="67"/>
                    </a:lnTo>
                    <a:lnTo>
                      <a:pt x="796" y="60"/>
                    </a:lnTo>
                    <a:lnTo>
                      <a:pt x="796" y="54"/>
                    </a:lnTo>
                    <a:lnTo>
                      <a:pt x="795" y="49"/>
                    </a:lnTo>
                    <a:lnTo>
                      <a:pt x="794" y="43"/>
                    </a:lnTo>
                    <a:lnTo>
                      <a:pt x="792" y="37"/>
                    </a:lnTo>
                    <a:lnTo>
                      <a:pt x="790" y="31"/>
                    </a:lnTo>
                    <a:lnTo>
                      <a:pt x="786" y="27"/>
                    </a:lnTo>
                    <a:lnTo>
                      <a:pt x="783" y="23"/>
                    </a:lnTo>
                    <a:lnTo>
                      <a:pt x="779" y="19"/>
                    </a:lnTo>
                    <a:lnTo>
                      <a:pt x="775" y="14"/>
                    </a:lnTo>
                    <a:lnTo>
                      <a:pt x="770" y="11"/>
                    </a:lnTo>
                    <a:lnTo>
                      <a:pt x="765" y="8"/>
                    </a:lnTo>
                    <a:lnTo>
                      <a:pt x="760" y="5"/>
                    </a:lnTo>
                    <a:lnTo>
                      <a:pt x="754" y="4"/>
                    </a:lnTo>
                    <a:lnTo>
                      <a:pt x="749" y="1"/>
                    </a:lnTo>
                    <a:lnTo>
                      <a:pt x="742" y="0"/>
                    </a:lnTo>
                    <a:lnTo>
                      <a:pt x="736" y="0"/>
                    </a:lnTo>
                    <a:lnTo>
                      <a:pt x="731" y="0"/>
                    </a:lnTo>
                    <a:lnTo>
                      <a:pt x="724" y="1"/>
                    </a:lnTo>
                    <a:lnTo>
                      <a:pt x="719" y="4"/>
                    </a:lnTo>
                    <a:lnTo>
                      <a:pt x="712" y="5"/>
                    </a:lnTo>
                    <a:lnTo>
                      <a:pt x="708" y="8"/>
                    </a:lnTo>
                    <a:lnTo>
                      <a:pt x="703" y="11"/>
                    </a:lnTo>
                    <a:lnTo>
                      <a:pt x="698" y="14"/>
                    </a:lnTo>
                    <a:lnTo>
                      <a:pt x="694" y="19"/>
                    </a:lnTo>
                    <a:lnTo>
                      <a:pt x="690" y="22"/>
                    </a:lnTo>
                    <a:lnTo>
                      <a:pt x="687" y="27"/>
                    </a:lnTo>
                    <a:lnTo>
                      <a:pt x="683" y="31"/>
                    </a:lnTo>
                    <a:lnTo>
                      <a:pt x="681" y="37"/>
                    </a:lnTo>
                    <a:lnTo>
                      <a:pt x="679" y="43"/>
                    </a:lnTo>
                    <a:lnTo>
                      <a:pt x="677" y="49"/>
                    </a:lnTo>
                    <a:lnTo>
                      <a:pt x="676" y="54"/>
                    </a:lnTo>
                    <a:lnTo>
                      <a:pt x="676" y="60"/>
                    </a:lnTo>
                    <a:lnTo>
                      <a:pt x="677" y="70"/>
                    </a:lnTo>
                    <a:lnTo>
                      <a:pt x="679" y="80"/>
                    </a:lnTo>
                    <a:lnTo>
                      <a:pt x="682" y="88"/>
                    </a:lnTo>
                    <a:lnTo>
                      <a:pt x="688" y="96"/>
                    </a:lnTo>
                    <a:lnTo>
                      <a:pt x="537" y="277"/>
                    </a:lnTo>
                    <a:lnTo>
                      <a:pt x="530" y="275"/>
                    </a:lnTo>
                    <a:lnTo>
                      <a:pt x="524" y="272"/>
                    </a:lnTo>
                    <a:lnTo>
                      <a:pt x="517" y="271"/>
                    </a:lnTo>
                    <a:lnTo>
                      <a:pt x="511" y="271"/>
                    </a:lnTo>
                    <a:lnTo>
                      <a:pt x="504" y="271"/>
                    </a:lnTo>
                    <a:lnTo>
                      <a:pt x="496" y="272"/>
                    </a:lnTo>
                    <a:lnTo>
                      <a:pt x="490" y="275"/>
                    </a:lnTo>
                    <a:lnTo>
                      <a:pt x="483" y="278"/>
                    </a:lnTo>
                    <a:lnTo>
                      <a:pt x="478" y="281"/>
                    </a:lnTo>
                    <a:lnTo>
                      <a:pt x="472" y="285"/>
                    </a:lnTo>
                    <a:lnTo>
                      <a:pt x="467" y="291"/>
                    </a:lnTo>
                    <a:lnTo>
                      <a:pt x="463" y="296"/>
                    </a:lnTo>
                    <a:lnTo>
                      <a:pt x="345" y="249"/>
                    </a:lnTo>
                    <a:lnTo>
                      <a:pt x="345" y="245"/>
                    </a:lnTo>
                    <a:lnTo>
                      <a:pt x="345" y="241"/>
                    </a:lnTo>
                    <a:lnTo>
                      <a:pt x="345" y="235"/>
                    </a:lnTo>
                    <a:lnTo>
                      <a:pt x="344" y="229"/>
                    </a:lnTo>
                    <a:lnTo>
                      <a:pt x="343" y="223"/>
                    </a:lnTo>
                    <a:lnTo>
                      <a:pt x="341" y="218"/>
                    </a:lnTo>
                    <a:lnTo>
                      <a:pt x="339" y="212"/>
                    </a:lnTo>
                    <a:lnTo>
                      <a:pt x="335" y="207"/>
                    </a:lnTo>
                    <a:lnTo>
                      <a:pt x="332" y="203"/>
                    </a:lnTo>
                    <a:lnTo>
                      <a:pt x="328" y="199"/>
                    </a:lnTo>
                    <a:lnTo>
                      <a:pt x="324" y="194"/>
                    </a:lnTo>
                    <a:lnTo>
                      <a:pt x="319" y="191"/>
                    </a:lnTo>
                    <a:lnTo>
                      <a:pt x="314" y="188"/>
                    </a:lnTo>
                    <a:lnTo>
                      <a:pt x="309" y="186"/>
                    </a:lnTo>
                    <a:lnTo>
                      <a:pt x="303" y="184"/>
                    </a:lnTo>
                    <a:lnTo>
                      <a:pt x="298" y="182"/>
                    </a:lnTo>
                    <a:lnTo>
                      <a:pt x="291" y="181"/>
                    </a:lnTo>
                    <a:lnTo>
                      <a:pt x="285" y="180"/>
                    </a:lnTo>
                    <a:lnTo>
                      <a:pt x="280" y="181"/>
                    </a:lnTo>
                    <a:lnTo>
                      <a:pt x="273" y="182"/>
                    </a:lnTo>
                    <a:lnTo>
                      <a:pt x="268" y="184"/>
                    </a:lnTo>
                    <a:lnTo>
                      <a:pt x="261" y="186"/>
                    </a:lnTo>
                    <a:lnTo>
                      <a:pt x="257" y="188"/>
                    </a:lnTo>
                    <a:lnTo>
                      <a:pt x="252" y="191"/>
                    </a:lnTo>
                    <a:lnTo>
                      <a:pt x="247" y="194"/>
                    </a:lnTo>
                    <a:lnTo>
                      <a:pt x="243" y="199"/>
                    </a:lnTo>
                    <a:lnTo>
                      <a:pt x="239" y="203"/>
                    </a:lnTo>
                    <a:lnTo>
                      <a:pt x="236" y="207"/>
                    </a:lnTo>
                    <a:lnTo>
                      <a:pt x="232" y="212"/>
                    </a:lnTo>
                    <a:lnTo>
                      <a:pt x="230" y="218"/>
                    </a:lnTo>
                    <a:lnTo>
                      <a:pt x="228" y="223"/>
                    </a:lnTo>
                    <a:lnTo>
                      <a:pt x="226" y="229"/>
                    </a:lnTo>
                    <a:lnTo>
                      <a:pt x="225" y="235"/>
                    </a:lnTo>
                    <a:lnTo>
                      <a:pt x="225" y="241"/>
                    </a:lnTo>
                    <a:lnTo>
                      <a:pt x="226" y="248"/>
                    </a:lnTo>
                    <a:lnTo>
                      <a:pt x="227" y="255"/>
                    </a:lnTo>
                    <a:lnTo>
                      <a:pt x="229" y="262"/>
                    </a:lnTo>
                    <a:lnTo>
                      <a:pt x="231" y="267"/>
                    </a:lnTo>
                    <a:lnTo>
                      <a:pt x="94" y="387"/>
                    </a:lnTo>
                    <a:lnTo>
                      <a:pt x="86" y="383"/>
                    </a:lnTo>
                    <a:lnTo>
                      <a:pt x="78" y="380"/>
                    </a:lnTo>
                    <a:lnTo>
                      <a:pt x="69" y="377"/>
                    </a:lnTo>
                    <a:lnTo>
                      <a:pt x="60" y="376"/>
                    </a:lnTo>
                    <a:lnTo>
                      <a:pt x="54" y="376"/>
                    </a:lnTo>
                    <a:lnTo>
                      <a:pt x="47" y="377"/>
                    </a:lnTo>
                    <a:lnTo>
                      <a:pt x="42" y="379"/>
                    </a:lnTo>
                    <a:lnTo>
                      <a:pt x="36" y="381"/>
                    </a:lnTo>
                    <a:lnTo>
                      <a:pt x="31" y="384"/>
                    </a:lnTo>
                    <a:lnTo>
                      <a:pt x="26" y="387"/>
                    </a:lnTo>
                    <a:lnTo>
                      <a:pt x="21" y="390"/>
                    </a:lnTo>
                    <a:lnTo>
                      <a:pt x="17" y="394"/>
                    </a:lnTo>
                    <a:lnTo>
                      <a:pt x="13" y="398"/>
                    </a:lnTo>
                    <a:lnTo>
                      <a:pt x="10" y="403"/>
                    </a:lnTo>
                    <a:lnTo>
                      <a:pt x="6" y="407"/>
                    </a:lnTo>
                    <a:lnTo>
                      <a:pt x="4" y="413"/>
                    </a:lnTo>
                    <a:lnTo>
                      <a:pt x="2" y="418"/>
                    </a:lnTo>
                    <a:lnTo>
                      <a:pt x="1" y="425"/>
                    </a:lnTo>
                    <a:lnTo>
                      <a:pt x="0" y="430"/>
                    </a:lnTo>
                    <a:lnTo>
                      <a:pt x="0" y="436"/>
                    </a:lnTo>
                    <a:lnTo>
                      <a:pt x="0" y="443"/>
                    </a:lnTo>
                    <a:lnTo>
                      <a:pt x="1" y="448"/>
                    </a:lnTo>
                    <a:lnTo>
                      <a:pt x="2" y="455"/>
                    </a:lnTo>
                    <a:lnTo>
                      <a:pt x="4" y="460"/>
                    </a:lnTo>
                    <a:lnTo>
                      <a:pt x="6" y="465"/>
                    </a:lnTo>
                    <a:lnTo>
                      <a:pt x="10" y="470"/>
                    </a:lnTo>
                    <a:lnTo>
                      <a:pt x="13" y="475"/>
                    </a:lnTo>
                    <a:lnTo>
                      <a:pt x="17" y="479"/>
                    </a:lnTo>
                    <a:lnTo>
                      <a:pt x="21" y="482"/>
                    </a:lnTo>
                    <a:lnTo>
                      <a:pt x="26" y="487"/>
                    </a:lnTo>
                    <a:lnTo>
                      <a:pt x="31" y="489"/>
                    </a:lnTo>
                    <a:lnTo>
                      <a:pt x="36" y="492"/>
                    </a:lnTo>
                    <a:lnTo>
                      <a:pt x="42" y="494"/>
                    </a:lnTo>
                    <a:lnTo>
                      <a:pt x="47" y="495"/>
                    </a:lnTo>
                    <a:lnTo>
                      <a:pt x="54" y="496"/>
                    </a:lnTo>
                    <a:lnTo>
                      <a:pt x="60" y="4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349A64CB-EF08-4A74-8B37-C87F5EEA29F7}"/>
              </a:ext>
            </a:extLst>
          </p:cNvPr>
          <p:cNvSpPr txBox="1"/>
          <p:nvPr/>
        </p:nvSpPr>
        <p:spPr>
          <a:xfrm>
            <a:off x="6590437" y="961866"/>
            <a:ext cx="2482911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Segoe UI Black" panose="020B0A02040204020203" pitchFamily="34" charset="0"/>
                <a:cs typeface="Segoe UI" panose="020B0502040204020203" pitchFamily="34" charset="0"/>
              </a:rPr>
              <a:t>Benefits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entury Gothic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40374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zigZag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2F4964F9-79AB-4BE1-9862-76CE4510D553}"/>
              </a:ext>
            </a:extLst>
          </p:cNvPr>
          <p:cNvSpPr/>
          <p:nvPr/>
        </p:nvSpPr>
        <p:spPr>
          <a:xfrm>
            <a:off x="-3175" y="5619137"/>
            <a:ext cx="7280275" cy="1238863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174DEE18-1746-4BF2-8B91-E7239491A1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459155" y="465856"/>
            <a:ext cx="953423" cy="2795892"/>
          </a:xfrm>
          <a:prstGeom prst="rect">
            <a:avLst/>
          </a:prstGeom>
        </p:spPr>
      </p:pic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A252347A-73EF-4021-A502-2D02F6F1D190}"/>
              </a:ext>
            </a:extLst>
          </p:cNvPr>
          <p:cNvSpPr/>
          <p:nvPr/>
        </p:nvSpPr>
        <p:spPr>
          <a:xfrm rot="10800000">
            <a:off x="4911725" y="1"/>
            <a:ext cx="7280275" cy="1238863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9" name="Date Placeholder 5">
            <a:extLst>
              <a:ext uri="{FF2B5EF4-FFF2-40B4-BE49-F238E27FC236}">
                <a16:creationId xmlns:a16="http://schemas.microsoft.com/office/drawing/2014/main" id="{57FFA33D-78C2-40D6-B2D0-0B2E4B0A188B}"/>
              </a:ext>
            </a:extLst>
          </p:cNvPr>
          <p:cNvSpPr txBox="1">
            <a:spLocks/>
          </p:cNvSpPr>
          <p:nvPr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8B4676E-700A-4E78-8FD0-6D58DEF18D8C}" type="datetime1">
              <a:rPr lang="en-ID" smtClean="0">
                <a:solidFill>
                  <a:prstClr val="black">
                    <a:tint val="75000"/>
                  </a:prstClr>
                </a:solidFill>
                <a:latin typeface="Calibri Light"/>
              </a:rPr>
              <a:pPr/>
              <a:t>01/03/2021</a:t>
            </a:fld>
            <a:endParaRPr lang="en-ID">
              <a:solidFill>
                <a:prstClr val="black">
                  <a:tint val="75000"/>
                </a:prstClr>
              </a:solidFill>
              <a:latin typeface="Calibri Light"/>
            </a:endParaRPr>
          </a:p>
        </p:txBody>
      </p:sp>
      <p:sp>
        <p:nvSpPr>
          <p:cNvPr id="30" name="Slide Number Placeholder 6">
            <a:extLst>
              <a:ext uri="{FF2B5EF4-FFF2-40B4-BE49-F238E27FC236}">
                <a16:creationId xmlns:a16="http://schemas.microsoft.com/office/drawing/2014/main" id="{6DB346F8-B89B-4974-9C32-0209645D054C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251F6F9-F283-4318-9087-FB554AE06D83}" type="slidenum">
              <a:rPr lang="en-ID" smtClean="0">
                <a:solidFill>
                  <a:prstClr val="black">
                    <a:tint val="75000"/>
                  </a:prstClr>
                </a:solidFill>
                <a:latin typeface="Calibri Light"/>
              </a:rPr>
              <a:pPr/>
              <a:t>8</a:t>
            </a:fld>
            <a:endParaRPr lang="en-ID">
              <a:solidFill>
                <a:prstClr val="black">
                  <a:tint val="75000"/>
                </a:prstClr>
              </a:solidFill>
              <a:latin typeface="Calibri Light"/>
            </a:endParaRPr>
          </a:p>
        </p:txBody>
      </p:sp>
      <p:sp>
        <p:nvSpPr>
          <p:cNvPr id="31" name="Title 3">
            <a:extLst>
              <a:ext uri="{FF2B5EF4-FFF2-40B4-BE49-F238E27FC236}">
                <a16:creationId xmlns:a16="http://schemas.microsoft.com/office/drawing/2014/main" id="{0EC6D99A-0B5E-4519-816D-1522B7B4E925}"/>
              </a:ext>
            </a:extLst>
          </p:cNvPr>
          <p:cNvSpPr txBox="1">
            <a:spLocks/>
          </p:cNvSpPr>
          <p:nvPr/>
        </p:nvSpPr>
        <p:spPr>
          <a:xfrm>
            <a:off x="838200" y="321030"/>
            <a:ext cx="10515600" cy="736600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454551"/>
                </a:solidFill>
                <a:effectLst/>
                <a:uLnTx/>
                <a:uFillTx/>
                <a:latin typeface="Bahnschrift"/>
                <a:ea typeface="+mj-ea"/>
                <a:cs typeface="+mj-cs"/>
              </a:rPr>
              <a:t>USE CASES</a:t>
            </a:r>
            <a:endParaRPr lang="en-ID" sz="4800" dirty="0">
              <a:solidFill>
                <a:schemeClr val="tx2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CC5B149-51E1-400D-B57B-52DEA504CBC4}"/>
              </a:ext>
            </a:extLst>
          </p:cNvPr>
          <p:cNvGrpSpPr/>
          <p:nvPr/>
        </p:nvGrpSpPr>
        <p:grpSpPr>
          <a:xfrm>
            <a:off x="313554" y="1141528"/>
            <a:ext cx="2260600" cy="4743113"/>
            <a:chOff x="331309" y="1162975"/>
            <a:chExt cx="2260600" cy="4743113"/>
          </a:xfrm>
        </p:grpSpPr>
        <p:sp>
          <p:nvSpPr>
            <p:cNvPr id="34" name="Rectangle: Top Corners Rounded 33">
              <a:extLst>
                <a:ext uri="{FF2B5EF4-FFF2-40B4-BE49-F238E27FC236}">
                  <a16:creationId xmlns:a16="http://schemas.microsoft.com/office/drawing/2014/main" id="{17B418E9-CEDD-49B8-BE74-F45587DD9425}"/>
                </a:ext>
              </a:extLst>
            </p:cNvPr>
            <p:cNvSpPr/>
            <p:nvPr/>
          </p:nvSpPr>
          <p:spPr>
            <a:xfrm>
              <a:off x="331309" y="1531669"/>
              <a:ext cx="2260600" cy="2160000"/>
            </a:xfrm>
            <a:prstGeom prst="round2SameRect">
              <a:avLst>
                <a:gd name="adj1" fmla="val 8436"/>
                <a:gd name="adj2" fmla="val 0"/>
              </a:avLst>
            </a:prstGeom>
            <a:solidFill>
              <a:srgbClr val="FED11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D8650FD4-9587-4E3F-B69A-A51B4D6EB13A}"/>
                </a:ext>
              </a:extLst>
            </p:cNvPr>
            <p:cNvSpPr/>
            <p:nvPr/>
          </p:nvSpPr>
          <p:spPr>
            <a:xfrm>
              <a:off x="331309" y="3746088"/>
              <a:ext cx="2260600" cy="2160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Patient Record Management Blockchain based record management system to enable companies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• Simplify claim processing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• Secure medical records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• Monitor the pharma supply chain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• Collaborate with network stakeholders</a:t>
              </a:r>
              <a:endParaRPr kumimoji="0" lang="en-ID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4B9E90E7-8DA5-4DB8-B72F-4FC7C967508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77453" y="1927513"/>
              <a:ext cx="1368314" cy="1368314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72E0DC0-7C1B-4F31-BC5C-AC479603929F}"/>
                </a:ext>
              </a:extLst>
            </p:cNvPr>
            <p:cNvSpPr txBox="1"/>
            <p:nvPr/>
          </p:nvSpPr>
          <p:spPr>
            <a:xfrm>
              <a:off x="523783" y="1162975"/>
              <a:ext cx="194420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rPr>
                <a:t>Healthcare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C37F9B5-F6A7-4A2B-92DC-E2D5DD1734B1}"/>
              </a:ext>
            </a:extLst>
          </p:cNvPr>
          <p:cNvGrpSpPr/>
          <p:nvPr/>
        </p:nvGrpSpPr>
        <p:grpSpPr>
          <a:xfrm>
            <a:off x="6256658" y="1126255"/>
            <a:ext cx="2566430" cy="4744322"/>
            <a:chOff x="4954109" y="1161766"/>
            <a:chExt cx="2566430" cy="4744322"/>
          </a:xfrm>
        </p:grpSpPr>
        <p:sp>
          <p:nvSpPr>
            <p:cNvPr id="40" name="Rectangle: Top Corners Rounded 39">
              <a:extLst>
                <a:ext uri="{FF2B5EF4-FFF2-40B4-BE49-F238E27FC236}">
                  <a16:creationId xmlns:a16="http://schemas.microsoft.com/office/drawing/2014/main" id="{4C97071D-8602-42B2-A185-72733F5BF279}"/>
                </a:ext>
              </a:extLst>
            </p:cNvPr>
            <p:cNvSpPr/>
            <p:nvPr/>
          </p:nvSpPr>
          <p:spPr>
            <a:xfrm>
              <a:off x="4954109" y="1531669"/>
              <a:ext cx="2260600" cy="2160000"/>
            </a:xfrm>
            <a:prstGeom prst="round2SameRect">
              <a:avLst>
                <a:gd name="adj1" fmla="val 10199"/>
                <a:gd name="adj2" fmla="val 0"/>
              </a:avLst>
            </a:prstGeom>
            <a:solidFill>
              <a:srgbClr val="FFC0A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D1E4C921-059D-4D76-8FAB-0564E527FCF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00253" y="1927513"/>
              <a:ext cx="1368314" cy="1368314"/>
            </a:xfrm>
            <a:prstGeom prst="rect">
              <a:avLst/>
            </a:prstGeom>
          </p:spPr>
        </p:pic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E643A613-2EA6-4012-B912-81C315C12978}"/>
                </a:ext>
              </a:extLst>
            </p:cNvPr>
            <p:cNvSpPr/>
            <p:nvPr/>
          </p:nvSpPr>
          <p:spPr>
            <a:xfrm>
              <a:off x="4954109" y="3746088"/>
              <a:ext cx="2260600" cy="2160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Roaming Fraud Smart contract based solution aimed at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• Automatic triggering of roaming contract based on call/event data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• near-instantaneous charging and reduction in roaming fraud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• Cost savings from eliminating the third-party clearing hous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Cost savings from eliminating the third-party clearing house</a:t>
              </a:r>
              <a:endPara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9611ACB-E1E6-4D7E-BA96-4D3B74282521}"/>
                </a:ext>
              </a:extLst>
            </p:cNvPr>
            <p:cNvSpPr txBox="1"/>
            <p:nvPr/>
          </p:nvSpPr>
          <p:spPr>
            <a:xfrm>
              <a:off x="5112304" y="1161766"/>
              <a:ext cx="240823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rPr>
                <a:t>Telecommunication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AF16138-66C3-4C1B-AAE6-9BADC936E139}"/>
              </a:ext>
            </a:extLst>
          </p:cNvPr>
          <p:cNvGrpSpPr/>
          <p:nvPr/>
        </p:nvGrpSpPr>
        <p:grpSpPr>
          <a:xfrm>
            <a:off x="3285106" y="1167924"/>
            <a:ext cx="2260600" cy="4702653"/>
            <a:chOff x="2642709" y="1203435"/>
            <a:chExt cx="2260600" cy="4702653"/>
          </a:xfrm>
        </p:grpSpPr>
        <p:sp>
          <p:nvSpPr>
            <p:cNvPr id="45" name="Rectangle: Top Corners Rounded 44">
              <a:extLst>
                <a:ext uri="{FF2B5EF4-FFF2-40B4-BE49-F238E27FC236}">
                  <a16:creationId xmlns:a16="http://schemas.microsoft.com/office/drawing/2014/main" id="{A30FD9EF-EA3E-4B3C-9024-1DC6D65B7AAF}"/>
                </a:ext>
              </a:extLst>
            </p:cNvPr>
            <p:cNvSpPr/>
            <p:nvPr/>
          </p:nvSpPr>
          <p:spPr>
            <a:xfrm>
              <a:off x="2642709" y="1531669"/>
              <a:ext cx="2260600" cy="2160000"/>
            </a:xfrm>
            <a:prstGeom prst="round2SameRect">
              <a:avLst>
                <a:gd name="adj1" fmla="val 8436"/>
                <a:gd name="adj2" fmla="val 0"/>
              </a:avLst>
            </a:prstGeom>
            <a:solidFill>
              <a:srgbClr val="00CEC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5087E3D4-5F2F-4F96-8E18-C794C47903D8}"/>
                </a:ext>
              </a:extLst>
            </p:cNvPr>
            <p:cNvSpPr/>
            <p:nvPr/>
          </p:nvSpPr>
          <p:spPr>
            <a:xfrm>
              <a:off x="2642709" y="3746088"/>
              <a:ext cx="2260600" cy="2160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Warranty Receipts The solution uses a </a:t>
              </a: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facebook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messenger chatbot to store warranty receipts on the blockchain. It helps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• Reduce disputes between retailers and customers for lost receipts and unreadable receipts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• Track history of ownership</a:t>
              </a:r>
              <a:endParaRPr kumimoji="0" lang="en-ID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pic>
          <p:nvPicPr>
            <p:cNvPr id="47" name="Graphic 46">
              <a:extLst>
                <a:ext uri="{FF2B5EF4-FFF2-40B4-BE49-F238E27FC236}">
                  <a16:creationId xmlns:a16="http://schemas.microsoft.com/office/drawing/2014/main" id="{D4E66CCE-4FED-4722-817E-0C3983492D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088853" y="1927513"/>
              <a:ext cx="1368314" cy="1368314"/>
            </a:xfrm>
            <a:prstGeom prst="rect">
              <a:avLst/>
            </a:prstGeom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FB06910-5802-444D-972F-DE3D9A3D1209}"/>
                </a:ext>
              </a:extLst>
            </p:cNvPr>
            <p:cNvSpPr txBox="1"/>
            <p:nvPr/>
          </p:nvSpPr>
          <p:spPr>
            <a:xfrm>
              <a:off x="2727254" y="1203435"/>
              <a:ext cx="194420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rPr>
                <a:t>Retail 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C3275AC-D824-4581-9540-62CD3AC4B963}"/>
              </a:ext>
            </a:extLst>
          </p:cNvPr>
          <p:cNvGrpSpPr/>
          <p:nvPr/>
        </p:nvGrpSpPr>
        <p:grpSpPr>
          <a:xfrm>
            <a:off x="9534041" y="1057630"/>
            <a:ext cx="2260600" cy="4741380"/>
            <a:chOff x="7265509" y="1164708"/>
            <a:chExt cx="2260600" cy="4741380"/>
          </a:xfrm>
        </p:grpSpPr>
        <p:sp>
          <p:nvSpPr>
            <p:cNvPr id="50" name="Rectangle: Top Corners Rounded 49">
              <a:extLst>
                <a:ext uri="{FF2B5EF4-FFF2-40B4-BE49-F238E27FC236}">
                  <a16:creationId xmlns:a16="http://schemas.microsoft.com/office/drawing/2014/main" id="{8F9864CC-09A6-434E-BED6-F06DD662161D}"/>
                </a:ext>
              </a:extLst>
            </p:cNvPr>
            <p:cNvSpPr/>
            <p:nvPr/>
          </p:nvSpPr>
          <p:spPr>
            <a:xfrm>
              <a:off x="7265509" y="1531669"/>
              <a:ext cx="2260600" cy="2160000"/>
            </a:xfrm>
            <a:prstGeom prst="round2SameRect">
              <a:avLst>
                <a:gd name="adj1" fmla="val 9023"/>
                <a:gd name="adj2" fmla="val 0"/>
              </a:avLst>
            </a:prstGeom>
            <a:solidFill>
              <a:srgbClr val="F5ECC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FB1E7D5B-57DD-4DEF-A124-4079E5386E0F}"/>
                </a:ext>
              </a:extLst>
            </p:cNvPr>
            <p:cNvSpPr/>
            <p:nvPr/>
          </p:nvSpPr>
          <p:spPr>
            <a:xfrm>
              <a:off x="7265509" y="3746088"/>
              <a:ext cx="2260600" cy="2160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and Registry Blockchain based land registration system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• Exploring how Blockchain could reduce the risk of manual errors while creating more secure processes for transferring ownership of </a:t>
              </a:r>
              <a:endParaRPr kumimoji="0" lang="en-ID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F1C68EDC-625A-4FF9-AE6D-8490CF7A9BE4}"/>
                </a:ext>
              </a:extLst>
            </p:cNvPr>
            <p:cNvSpPr txBox="1"/>
            <p:nvPr/>
          </p:nvSpPr>
          <p:spPr>
            <a:xfrm>
              <a:off x="7423704" y="1164708"/>
              <a:ext cx="194420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rPr>
                <a:t>Land Registry</a:t>
              </a:r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C0029BCA-60B8-4605-944B-B3EE8766E7C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265509" y="1773025"/>
              <a:ext cx="2260600" cy="16984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84641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zigZag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A252347A-73EF-4021-A502-2D02F6F1D190}"/>
              </a:ext>
            </a:extLst>
          </p:cNvPr>
          <p:cNvSpPr/>
          <p:nvPr/>
        </p:nvSpPr>
        <p:spPr>
          <a:xfrm rot="10800000">
            <a:off x="4911725" y="1"/>
            <a:ext cx="7280275" cy="1238863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E381803-CA2F-4026-BB88-F7FF724B5E59}"/>
              </a:ext>
            </a:extLst>
          </p:cNvPr>
          <p:cNvSpPr/>
          <p:nvPr/>
        </p:nvSpPr>
        <p:spPr>
          <a:xfrm>
            <a:off x="774078" y="935539"/>
            <a:ext cx="3265070" cy="5263510"/>
          </a:xfrm>
          <a:prstGeom prst="rect">
            <a:avLst/>
          </a:prstGeom>
          <a:pattFill prst="ltDnDiag">
            <a:fgClr>
              <a:sysClr val="window" lastClr="FFFFFF">
                <a:lumMod val="85000"/>
              </a:sysClr>
            </a:fgClr>
            <a:bgClr>
              <a:sysClr val="window" lastClr="FFFFFF"/>
            </a:bgClr>
          </a:patt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2F4964F9-79AB-4BE1-9862-76CE4510D553}"/>
              </a:ext>
            </a:extLst>
          </p:cNvPr>
          <p:cNvSpPr/>
          <p:nvPr/>
        </p:nvSpPr>
        <p:spPr>
          <a:xfrm>
            <a:off x="-3175" y="5619137"/>
            <a:ext cx="7280275" cy="1238863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2" name="Slide Number Placeholder 51">
            <a:extLst>
              <a:ext uri="{FF2B5EF4-FFF2-40B4-BE49-F238E27FC236}">
                <a16:creationId xmlns:a16="http://schemas.microsoft.com/office/drawing/2014/main" id="{0E138C45-4489-4E6D-BF08-27D313165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5E5E57-0193-45F1-AA6D-ABE38BBADB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174DEE18-1746-4BF2-8B91-E7239491A1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39073" y="71581"/>
            <a:ext cx="953423" cy="2795892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0008668D-60F9-45DA-A880-2FE534028B6C}"/>
              </a:ext>
            </a:extLst>
          </p:cNvPr>
          <p:cNvSpPr/>
          <p:nvPr/>
        </p:nvSpPr>
        <p:spPr>
          <a:xfrm>
            <a:off x="774078" y="1020423"/>
            <a:ext cx="3265070" cy="619028"/>
          </a:xfrm>
          <a:prstGeom prst="rect">
            <a:avLst/>
          </a:prstGeom>
          <a:solidFill>
            <a:srgbClr val="DD82A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stablish Connection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3BC8A9C-2FB6-452B-84FB-0F6593FAC012}"/>
              </a:ext>
            </a:extLst>
          </p:cNvPr>
          <p:cNvSpPr/>
          <p:nvPr/>
        </p:nvSpPr>
        <p:spPr>
          <a:xfrm>
            <a:off x="11004884" y="6356350"/>
            <a:ext cx="365125" cy="365125"/>
          </a:xfrm>
          <a:prstGeom prst="rect">
            <a:avLst/>
          </a:prstGeom>
          <a:solidFill>
            <a:srgbClr val="F8595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2" name="Date Placeholder 43">
            <a:extLst>
              <a:ext uri="{FF2B5EF4-FFF2-40B4-BE49-F238E27FC236}">
                <a16:creationId xmlns:a16="http://schemas.microsoft.com/office/drawing/2014/main" id="{4F9F4DA1-4E0F-4173-8B8C-7BBBC1A0A9F8}"/>
              </a:ext>
            </a:extLst>
          </p:cNvPr>
          <p:cNvSpPr txBox="1">
            <a:spLocks/>
          </p:cNvSpPr>
          <p:nvPr/>
        </p:nvSpPr>
        <p:spPr>
          <a:xfrm>
            <a:off x="51435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B9BF6F-78CF-48B3-88B0-081B4F6E6E6C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1/20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0477376-9196-45B0-8D25-E509EBCB50AB}"/>
              </a:ext>
            </a:extLst>
          </p:cNvPr>
          <p:cNvSpPr txBox="1"/>
          <p:nvPr/>
        </p:nvSpPr>
        <p:spPr>
          <a:xfrm>
            <a:off x="2352106" y="234148"/>
            <a:ext cx="7487789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dirty="0">
                <a:solidFill>
                  <a:srgbClr val="7C203A"/>
                </a:solidFill>
                <a:latin typeface="Segoe UI Semibold"/>
              </a:rPr>
              <a:t>Front End Layout</a:t>
            </a:r>
            <a:endParaRPr lang="id-ID" sz="3200" dirty="0">
              <a:solidFill>
                <a:srgbClr val="7C203A"/>
              </a:solidFill>
              <a:latin typeface="Segoe UI Semibold"/>
            </a:endParaRPr>
          </a:p>
        </p:txBody>
      </p:sp>
      <p:sp>
        <p:nvSpPr>
          <p:cNvPr id="64" name="Slide Number Placeholder 19">
            <a:extLst>
              <a:ext uri="{FF2B5EF4-FFF2-40B4-BE49-F238E27FC236}">
                <a16:creationId xmlns:a16="http://schemas.microsoft.com/office/drawing/2014/main" id="{0EE5ABFD-246B-451F-8A24-E676CBEB0D49}"/>
              </a:ext>
            </a:extLst>
          </p:cNvPr>
          <p:cNvSpPr txBox="1">
            <a:spLocks/>
          </p:cNvSpPr>
          <p:nvPr/>
        </p:nvSpPr>
        <p:spPr>
          <a:xfrm>
            <a:off x="859455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E7C251-D6ED-4C4E-A362-F0251D2345FB}" type="slidenum">
              <a:rPr kumimoji="0" lang="id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98AAC9E7-0DDD-46F9-8FE7-C3171AF1666D}"/>
              </a:ext>
            </a:extLst>
          </p:cNvPr>
          <p:cNvSpPr/>
          <p:nvPr/>
        </p:nvSpPr>
        <p:spPr>
          <a:xfrm>
            <a:off x="1162488" y="1785186"/>
            <a:ext cx="2512525" cy="619028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ne Block ?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31BFECC-41C3-4F1C-9D41-2DA9A3E90733}"/>
              </a:ext>
            </a:extLst>
          </p:cNvPr>
          <p:cNvSpPr/>
          <p:nvPr/>
        </p:nvSpPr>
        <p:spPr>
          <a:xfrm>
            <a:off x="1162488" y="2557959"/>
            <a:ext cx="2512525" cy="619028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Yes/NO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4BCD5AC-D6AD-4B83-B867-E2D2EA2C0DF0}"/>
              </a:ext>
            </a:extLst>
          </p:cNvPr>
          <p:cNvSpPr/>
          <p:nvPr/>
        </p:nvSpPr>
        <p:spPr>
          <a:xfrm>
            <a:off x="1162488" y="3630373"/>
            <a:ext cx="2512525" cy="619028"/>
          </a:xfrm>
          <a:prstGeom prst="rect">
            <a:avLst/>
          </a:prstGeom>
          <a:solidFill>
            <a:srgbClr val="CF7C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Yes-Mining Successful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5247174-2E49-43F6-8283-9759C481F3A1}"/>
              </a:ext>
            </a:extLst>
          </p:cNvPr>
          <p:cNvSpPr/>
          <p:nvPr/>
        </p:nvSpPr>
        <p:spPr>
          <a:xfrm>
            <a:off x="4463466" y="935539"/>
            <a:ext cx="3265070" cy="5263510"/>
          </a:xfrm>
          <a:prstGeom prst="rect">
            <a:avLst/>
          </a:prstGeom>
          <a:pattFill prst="ltDnDiag">
            <a:fgClr>
              <a:sysClr val="window" lastClr="FFFFFF">
                <a:lumMod val="85000"/>
              </a:sysClr>
            </a:fgClr>
            <a:bgClr>
              <a:sysClr val="window" lastClr="FFFFFF"/>
            </a:bgClr>
          </a:patt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541C25D-6F99-4EFD-8D43-33C9689A7B3B}"/>
              </a:ext>
            </a:extLst>
          </p:cNvPr>
          <p:cNvSpPr/>
          <p:nvPr/>
        </p:nvSpPr>
        <p:spPr>
          <a:xfrm>
            <a:off x="8152851" y="935539"/>
            <a:ext cx="3331373" cy="5263510"/>
          </a:xfrm>
          <a:prstGeom prst="rect">
            <a:avLst/>
          </a:prstGeom>
          <a:solidFill>
            <a:srgbClr val="123E7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3E0D48C-E090-4820-9281-1D99A7162F20}"/>
              </a:ext>
            </a:extLst>
          </p:cNvPr>
          <p:cNvSpPr/>
          <p:nvPr/>
        </p:nvSpPr>
        <p:spPr>
          <a:xfrm>
            <a:off x="4463466" y="1020423"/>
            <a:ext cx="3265070" cy="619028"/>
          </a:xfrm>
          <a:prstGeom prst="rect">
            <a:avLst/>
          </a:prstGeom>
          <a:solidFill>
            <a:srgbClr val="5F49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et Chain Info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786975A-5C95-4CDA-BF4D-0B6B0AF6E4AB}"/>
              </a:ext>
            </a:extLst>
          </p:cNvPr>
          <p:cNvSpPr/>
          <p:nvPr/>
        </p:nvSpPr>
        <p:spPr>
          <a:xfrm>
            <a:off x="8152852" y="1020423"/>
            <a:ext cx="3331372" cy="619028"/>
          </a:xfrm>
          <a:prstGeom prst="rect">
            <a:avLst/>
          </a:prstGeom>
          <a:solidFill>
            <a:srgbClr val="CA7AC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dd Transaction</a:t>
            </a:r>
          </a:p>
        </p:txBody>
      </p:sp>
      <p:sp>
        <p:nvSpPr>
          <p:cNvPr id="78" name="Freeform 39">
            <a:extLst>
              <a:ext uri="{FF2B5EF4-FFF2-40B4-BE49-F238E27FC236}">
                <a16:creationId xmlns:a16="http://schemas.microsoft.com/office/drawing/2014/main" id="{4BF8E712-6359-4AC5-8898-7A962084C51E}"/>
              </a:ext>
            </a:extLst>
          </p:cNvPr>
          <p:cNvSpPr>
            <a:spLocks noEditPoints="1"/>
          </p:cNvSpPr>
          <p:nvPr/>
        </p:nvSpPr>
        <p:spPr bwMode="auto">
          <a:xfrm>
            <a:off x="2276818" y="3261748"/>
            <a:ext cx="283864" cy="283864"/>
          </a:xfrm>
          <a:custGeom>
            <a:avLst/>
            <a:gdLst>
              <a:gd name="T0" fmla="*/ 431 w 597"/>
              <a:gd name="T1" fmla="*/ 327 h 596"/>
              <a:gd name="T2" fmla="*/ 420 w 597"/>
              <a:gd name="T3" fmla="*/ 325 h 596"/>
              <a:gd name="T4" fmla="*/ 357 w 597"/>
              <a:gd name="T5" fmla="*/ 511 h 596"/>
              <a:gd name="T6" fmla="*/ 348 w 597"/>
              <a:gd name="T7" fmla="*/ 517 h 596"/>
              <a:gd name="T8" fmla="*/ 241 w 597"/>
              <a:gd name="T9" fmla="*/ 514 h 596"/>
              <a:gd name="T10" fmla="*/ 239 w 597"/>
              <a:gd name="T11" fmla="*/ 262 h 596"/>
              <a:gd name="T12" fmla="*/ 169 w 597"/>
              <a:gd name="T13" fmla="*/ 328 h 596"/>
              <a:gd name="T14" fmla="*/ 113 w 597"/>
              <a:gd name="T15" fmla="*/ 275 h 596"/>
              <a:gd name="T16" fmla="*/ 111 w 597"/>
              <a:gd name="T17" fmla="*/ 264 h 596"/>
              <a:gd name="T18" fmla="*/ 294 w 597"/>
              <a:gd name="T19" fmla="*/ 81 h 596"/>
              <a:gd name="T20" fmla="*/ 305 w 597"/>
              <a:gd name="T21" fmla="*/ 83 h 596"/>
              <a:gd name="T22" fmla="*/ 486 w 597"/>
              <a:gd name="T23" fmla="*/ 269 h 596"/>
              <a:gd name="T24" fmla="*/ 298 w 597"/>
              <a:gd name="T25" fmla="*/ 0 h 596"/>
              <a:gd name="T26" fmla="*/ 253 w 597"/>
              <a:gd name="T27" fmla="*/ 4 h 596"/>
              <a:gd name="T28" fmla="*/ 210 w 597"/>
              <a:gd name="T29" fmla="*/ 14 h 596"/>
              <a:gd name="T30" fmla="*/ 169 w 597"/>
              <a:gd name="T31" fmla="*/ 30 h 596"/>
              <a:gd name="T32" fmla="*/ 132 w 597"/>
              <a:gd name="T33" fmla="*/ 52 h 596"/>
              <a:gd name="T34" fmla="*/ 98 w 597"/>
              <a:gd name="T35" fmla="*/ 78 h 596"/>
              <a:gd name="T36" fmla="*/ 68 w 597"/>
              <a:gd name="T37" fmla="*/ 109 h 596"/>
              <a:gd name="T38" fmla="*/ 44 w 597"/>
              <a:gd name="T39" fmla="*/ 143 h 596"/>
              <a:gd name="T40" fmla="*/ 24 w 597"/>
              <a:gd name="T41" fmla="*/ 182 h 596"/>
              <a:gd name="T42" fmla="*/ 10 w 597"/>
              <a:gd name="T43" fmla="*/ 223 h 596"/>
              <a:gd name="T44" fmla="*/ 1 w 597"/>
              <a:gd name="T45" fmla="*/ 268 h 596"/>
              <a:gd name="T46" fmla="*/ 0 w 597"/>
              <a:gd name="T47" fmla="*/ 313 h 596"/>
              <a:gd name="T48" fmla="*/ 6 w 597"/>
              <a:gd name="T49" fmla="*/ 358 h 596"/>
              <a:gd name="T50" fmla="*/ 19 w 597"/>
              <a:gd name="T51" fmla="*/ 400 h 596"/>
              <a:gd name="T52" fmla="*/ 36 w 597"/>
              <a:gd name="T53" fmla="*/ 440 h 596"/>
              <a:gd name="T54" fmla="*/ 60 w 597"/>
              <a:gd name="T55" fmla="*/ 476 h 596"/>
              <a:gd name="T56" fmla="*/ 88 w 597"/>
              <a:gd name="T57" fmla="*/ 508 h 596"/>
              <a:gd name="T58" fmla="*/ 120 w 597"/>
              <a:gd name="T59" fmla="*/ 537 h 596"/>
              <a:gd name="T60" fmla="*/ 156 w 597"/>
              <a:gd name="T61" fmla="*/ 560 h 596"/>
              <a:gd name="T62" fmla="*/ 196 w 597"/>
              <a:gd name="T63" fmla="*/ 578 h 596"/>
              <a:gd name="T64" fmla="*/ 238 w 597"/>
              <a:gd name="T65" fmla="*/ 589 h 596"/>
              <a:gd name="T66" fmla="*/ 283 w 597"/>
              <a:gd name="T67" fmla="*/ 596 h 596"/>
              <a:gd name="T68" fmla="*/ 329 w 597"/>
              <a:gd name="T69" fmla="*/ 595 h 596"/>
              <a:gd name="T70" fmla="*/ 373 w 597"/>
              <a:gd name="T71" fmla="*/ 586 h 596"/>
              <a:gd name="T72" fmla="*/ 414 w 597"/>
              <a:gd name="T73" fmla="*/ 572 h 596"/>
              <a:gd name="T74" fmla="*/ 453 w 597"/>
              <a:gd name="T75" fmla="*/ 553 h 596"/>
              <a:gd name="T76" fmla="*/ 487 w 597"/>
              <a:gd name="T77" fmla="*/ 528 h 596"/>
              <a:gd name="T78" fmla="*/ 519 w 597"/>
              <a:gd name="T79" fmla="*/ 499 h 596"/>
              <a:gd name="T80" fmla="*/ 545 w 597"/>
              <a:gd name="T81" fmla="*/ 464 h 596"/>
              <a:gd name="T82" fmla="*/ 566 w 597"/>
              <a:gd name="T83" fmla="*/ 427 h 596"/>
              <a:gd name="T84" fmla="*/ 582 w 597"/>
              <a:gd name="T85" fmla="*/ 386 h 596"/>
              <a:gd name="T86" fmla="*/ 592 w 597"/>
              <a:gd name="T87" fmla="*/ 343 h 596"/>
              <a:gd name="T88" fmla="*/ 597 w 597"/>
              <a:gd name="T89" fmla="*/ 298 h 596"/>
              <a:gd name="T90" fmla="*/ 592 w 597"/>
              <a:gd name="T91" fmla="*/ 253 h 596"/>
              <a:gd name="T92" fmla="*/ 582 w 597"/>
              <a:gd name="T93" fmla="*/ 209 h 596"/>
              <a:gd name="T94" fmla="*/ 566 w 597"/>
              <a:gd name="T95" fmla="*/ 169 h 596"/>
              <a:gd name="T96" fmla="*/ 545 w 597"/>
              <a:gd name="T97" fmla="*/ 132 h 596"/>
              <a:gd name="T98" fmla="*/ 519 w 597"/>
              <a:gd name="T99" fmla="*/ 98 h 596"/>
              <a:gd name="T100" fmla="*/ 487 w 597"/>
              <a:gd name="T101" fmla="*/ 68 h 596"/>
              <a:gd name="T102" fmla="*/ 453 w 597"/>
              <a:gd name="T103" fmla="*/ 43 h 596"/>
              <a:gd name="T104" fmla="*/ 414 w 597"/>
              <a:gd name="T105" fmla="*/ 24 h 596"/>
              <a:gd name="T106" fmla="*/ 373 w 597"/>
              <a:gd name="T107" fmla="*/ 10 h 596"/>
              <a:gd name="T108" fmla="*/ 329 w 597"/>
              <a:gd name="T109" fmla="*/ 2 h 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97" h="596">
                <a:moveTo>
                  <a:pt x="484" y="275"/>
                </a:moveTo>
                <a:lnTo>
                  <a:pt x="435" y="325"/>
                </a:lnTo>
                <a:lnTo>
                  <a:pt x="431" y="327"/>
                </a:lnTo>
                <a:lnTo>
                  <a:pt x="427" y="328"/>
                </a:lnTo>
                <a:lnTo>
                  <a:pt x="424" y="327"/>
                </a:lnTo>
                <a:lnTo>
                  <a:pt x="420" y="325"/>
                </a:lnTo>
                <a:lnTo>
                  <a:pt x="358" y="262"/>
                </a:lnTo>
                <a:lnTo>
                  <a:pt x="358" y="506"/>
                </a:lnTo>
                <a:lnTo>
                  <a:pt x="357" y="511"/>
                </a:lnTo>
                <a:lnTo>
                  <a:pt x="355" y="514"/>
                </a:lnTo>
                <a:lnTo>
                  <a:pt x="351" y="516"/>
                </a:lnTo>
                <a:lnTo>
                  <a:pt x="348" y="517"/>
                </a:lnTo>
                <a:lnTo>
                  <a:pt x="249" y="517"/>
                </a:lnTo>
                <a:lnTo>
                  <a:pt x="244" y="516"/>
                </a:lnTo>
                <a:lnTo>
                  <a:pt x="241" y="514"/>
                </a:lnTo>
                <a:lnTo>
                  <a:pt x="239" y="511"/>
                </a:lnTo>
                <a:lnTo>
                  <a:pt x="239" y="506"/>
                </a:lnTo>
                <a:lnTo>
                  <a:pt x="239" y="262"/>
                </a:lnTo>
                <a:lnTo>
                  <a:pt x="176" y="325"/>
                </a:lnTo>
                <a:lnTo>
                  <a:pt x="173" y="327"/>
                </a:lnTo>
                <a:lnTo>
                  <a:pt x="169" y="328"/>
                </a:lnTo>
                <a:lnTo>
                  <a:pt x="166" y="327"/>
                </a:lnTo>
                <a:lnTo>
                  <a:pt x="162" y="325"/>
                </a:lnTo>
                <a:lnTo>
                  <a:pt x="113" y="275"/>
                </a:lnTo>
                <a:lnTo>
                  <a:pt x="111" y="272"/>
                </a:lnTo>
                <a:lnTo>
                  <a:pt x="109" y="269"/>
                </a:lnTo>
                <a:lnTo>
                  <a:pt x="111" y="264"/>
                </a:lnTo>
                <a:lnTo>
                  <a:pt x="113" y="261"/>
                </a:lnTo>
                <a:lnTo>
                  <a:pt x="291" y="83"/>
                </a:lnTo>
                <a:lnTo>
                  <a:pt x="294" y="81"/>
                </a:lnTo>
                <a:lnTo>
                  <a:pt x="298" y="80"/>
                </a:lnTo>
                <a:lnTo>
                  <a:pt x="302" y="81"/>
                </a:lnTo>
                <a:lnTo>
                  <a:pt x="305" y="83"/>
                </a:lnTo>
                <a:lnTo>
                  <a:pt x="484" y="261"/>
                </a:lnTo>
                <a:lnTo>
                  <a:pt x="486" y="264"/>
                </a:lnTo>
                <a:lnTo>
                  <a:pt x="486" y="269"/>
                </a:lnTo>
                <a:lnTo>
                  <a:pt x="486" y="272"/>
                </a:lnTo>
                <a:lnTo>
                  <a:pt x="484" y="275"/>
                </a:lnTo>
                <a:close/>
                <a:moveTo>
                  <a:pt x="298" y="0"/>
                </a:moveTo>
                <a:lnTo>
                  <a:pt x="283" y="1"/>
                </a:lnTo>
                <a:lnTo>
                  <a:pt x="268" y="2"/>
                </a:lnTo>
                <a:lnTo>
                  <a:pt x="253" y="4"/>
                </a:lnTo>
                <a:lnTo>
                  <a:pt x="238" y="6"/>
                </a:lnTo>
                <a:lnTo>
                  <a:pt x="224" y="10"/>
                </a:lnTo>
                <a:lnTo>
                  <a:pt x="210" y="14"/>
                </a:lnTo>
                <a:lnTo>
                  <a:pt x="196" y="18"/>
                </a:lnTo>
                <a:lnTo>
                  <a:pt x="182" y="24"/>
                </a:lnTo>
                <a:lnTo>
                  <a:pt x="169" y="30"/>
                </a:lnTo>
                <a:lnTo>
                  <a:pt x="156" y="37"/>
                </a:lnTo>
                <a:lnTo>
                  <a:pt x="144" y="43"/>
                </a:lnTo>
                <a:lnTo>
                  <a:pt x="132" y="52"/>
                </a:lnTo>
                <a:lnTo>
                  <a:pt x="120" y="59"/>
                </a:lnTo>
                <a:lnTo>
                  <a:pt x="108" y="68"/>
                </a:lnTo>
                <a:lnTo>
                  <a:pt x="98" y="78"/>
                </a:lnTo>
                <a:lnTo>
                  <a:pt x="88" y="87"/>
                </a:lnTo>
                <a:lnTo>
                  <a:pt x="78" y="98"/>
                </a:lnTo>
                <a:lnTo>
                  <a:pt x="68" y="109"/>
                </a:lnTo>
                <a:lnTo>
                  <a:pt x="60" y="120"/>
                </a:lnTo>
                <a:lnTo>
                  <a:pt x="51" y="132"/>
                </a:lnTo>
                <a:lnTo>
                  <a:pt x="44" y="143"/>
                </a:lnTo>
                <a:lnTo>
                  <a:pt x="36" y="156"/>
                </a:lnTo>
                <a:lnTo>
                  <a:pt x="30" y="169"/>
                </a:lnTo>
                <a:lnTo>
                  <a:pt x="24" y="182"/>
                </a:lnTo>
                <a:lnTo>
                  <a:pt x="19" y="195"/>
                </a:lnTo>
                <a:lnTo>
                  <a:pt x="13" y="209"/>
                </a:lnTo>
                <a:lnTo>
                  <a:pt x="10" y="223"/>
                </a:lnTo>
                <a:lnTo>
                  <a:pt x="6" y="238"/>
                </a:lnTo>
                <a:lnTo>
                  <a:pt x="4" y="253"/>
                </a:lnTo>
                <a:lnTo>
                  <a:pt x="1" y="268"/>
                </a:lnTo>
                <a:lnTo>
                  <a:pt x="0" y="283"/>
                </a:lnTo>
                <a:lnTo>
                  <a:pt x="0" y="298"/>
                </a:lnTo>
                <a:lnTo>
                  <a:pt x="0" y="313"/>
                </a:lnTo>
                <a:lnTo>
                  <a:pt x="1" y="328"/>
                </a:lnTo>
                <a:lnTo>
                  <a:pt x="4" y="343"/>
                </a:lnTo>
                <a:lnTo>
                  <a:pt x="6" y="358"/>
                </a:lnTo>
                <a:lnTo>
                  <a:pt x="10" y="372"/>
                </a:lnTo>
                <a:lnTo>
                  <a:pt x="13" y="386"/>
                </a:lnTo>
                <a:lnTo>
                  <a:pt x="19" y="400"/>
                </a:lnTo>
                <a:lnTo>
                  <a:pt x="24" y="413"/>
                </a:lnTo>
                <a:lnTo>
                  <a:pt x="30" y="427"/>
                </a:lnTo>
                <a:lnTo>
                  <a:pt x="36" y="440"/>
                </a:lnTo>
                <a:lnTo>
                  <a:pt x="44" y="452"/>
                </a:lnTo>
                <a:lnTo>
                  <a:pt x="51" y="464"/>
                </a:lnTo>
                <a:lnTo>
                  <a:pt x="60" y="476"/>
                </a:lnTo>
                <a:lnTo>
                  <a:pt x="68" y="488"/>
                </a:lnTo>
                <a:lnTo>
                  <a:pt x="78" y="499"/>
                </a:lnTo>
                <a:lnTo>
                  <a:pt x="88" y="508"/>
                </a:lnTo>
                <a:lnTo>
                  <a:pt x="98" y="518"/>
                </a:lnTo>
                <a:lnTo>
                  <a:pt x="108" y="528"/>
                </a:lnTo>
                <a:lnTo>
                  <a:pt x="120" y="537"/>
                </a:lnTo>
                <a:lnTo>
                  <a:pt x="132" y="545"/>
                </a:lnTo>
                <a:lnTo>
                  <a:pt x="144" y="553"/>
                </a:lnTo>
                <a:lnTo>
                  <a:pt x="156" y="560"/>
                </a:lnTo>
                <a:lnTo>
                  <a:pt x="169" y="567"/>
                </a:lnTo>
                <a:lnTo>
                  <a:pt x="182" y="572"/>
                </a:lnTo>
                <a:lnTo>
                  <a:pt x="196" y="578"/>
                </a:lnTo>
                <a:lnTo>
                  <a:pt x="210" y="583"/>
                </a:lnTo>
                <a:lnTo>
                  <a:pt x="224" y="586"/>
                </a:lnTo>
                <a:lnTo>
                  <a:pt x="238" y="589"/>
                </a:lnTo>
                <a:lnTo>
                  <a:pt x="253" y="593"/>
                </a:lnTo>
                <a:lnTo>
                  <a:pt x="268" y="595"/>
                </a:lnTo>
                <a:lnTo>
                  <a:pt x="283" y="596"/>
                </a:lnTo>
                <a:lnTo>
                  <a:pt x="298" y="596"/>
                </a:lnTo>
                <a:lnTo>
                  <a:pt x="314" y="596"/>
                </a:lnTo>
                <a:lnTo>
                  <a:pt x="329" y="595"/>
                </a:lnTo>
                <a:lnTo>
                  <a:pt x="344" y="593"/>
                </a:lnTo>
                <a:lnTo>
                  <a:pt x="358" y="589"/>
                </a:lnTo>
                <a:lnTo>
                  <a:pt x="373" y="586"/>
                </a:lnTo>
                <a:lnTo>
                  <a:pt x="387" y="583"/>
                </a:lnTo>
                <a:lnTo>
                  <a:pt x="400" y="578"/>
                </a:lnTo>
                <a:lnTo>
                  <a:pt x="414" y="572"/>
                </a:lnTo>
                <a:lnTo>
                  <a:pt x="427" y="567"/>
                </a:lnTo>
                <a:lnTo>
                  <a:pt x="440" y="560"/>
                </a:lnTo>
                <a:lnTo>
                  <a:pt x="453" y="553"/>
                </a:lnTo>
                <a:lnTo>
                  <a:pt x="465" y="545"/>
                </a:lnTo>
                <a:lnTo>
                  <a:pt x="477" y="537"/>
                </a:lnTo>
                <a:lnTo>
                  <a:pt x="487" y="528"/>
                </a:lnTo>
                <a:lnTo>
                  <a:pt x="498" y="518"/>
                </a:lnTo>
                <a:lnTo>
                  <a:pt x="509" y="508"/>
                </a:lnTo>
                <a:lnTo>
                  <a:pt x="519" y="499"/>
                </a:lnTo>
                <a:lnTo>
                  <a:pt x="528" y="488"/>
                </a:lnTo>
                <a:lnTo>
                  <a:pt x="537" y="476"/>
                </a:lnTo>
                <a:lnTo>
                  <a:pt x="545" y="464"/>
                </a:lnTo>
                <a:lnTo>
                  <a:pt x="553" y="452"/>
                </a:lnTo>
                <a:lnTo>
                  <a:pt x="560" y="440"/>
                </a:lnTo>
                <a:lnTo>
                  <a:pt x="566" y="427"/>
                </a:lnTo>
                <a:lnTo>
                  <a:pt x="573" y="413"/>
                </a:lnTo>
                <a:lnTo>
                  <a:pt x="578" y="400"/>
                </a:lnTo>
                <a:lnTo>
                  <a:pt x="582" y="386"/>
                </a:lnTo>
                <a:lnTo>
                  <a:pt x="587" y="372"/>
                </a:lnTo>
                <a:lnTo>
                  <a:pt x="590" y="358"/>
                </a:lnTo>
                <a:lnTo>
                  <a:pt x="592" y="343"/>
                </a:lnTo>
                <a:lnTo>
                  <a:pt x="594" y="328"/>
                </a:lnTo>
                <a:lnTo>
                  <a:pt x="595" y="313"/>
                </a:lnTo>
                <a:lnTo>
                  <a:pt x="597" y="298"/>
                </a:lnTo>
                <a:lnTo>
                  <a:pt x="595" y="283"/>
                </a:lnTo>
                <a:lnTo>
                  <a:pt x="594" y="268"/>
                </a:lnTo>
                <a:lnTo>
                  <a:pt x="592" y="253"/>
                </a:lnTo>
                <a:lnTo>
                  <a:pt x="590" y="238"/>
                </a:lnTo>
                <a:lnTo>
                  <a:pt x="587" y="223"/>
                </a:lnTo>
                <a:lnTo>
                  <a:pt x="582" y="209"/>
                </a:lnTo>
                <a:lnTo>
                  <a:pt x="578" y="195"/>
                </a:lnTo>
                <a:lnTo>
                  <a:pt x="573" y="182"/>
                </a:lnTo>
                <a:lnTo>
                  <a:pt x="566" y="169"/>
                </a:lnTo>
                <a:lnTo>
                  <a:pt x="560" y="156"/>
                </a:lnTo>
                <a:lnTo>
                  <a:pt x="553" y="143"/>
                </a:lnTo>
                <a:lnTo>
                  <a:pt x="545" y="132"/>
                </a:lnTo>
                <a:lnTo>
                  <a:pt x="537" y="120"/>
                </a:lnTo>
                <a:lnTo>
                  <a:pt x="528" y="109"/>
                </a:lnTo>
                <a:lnTo>
                  <a:pt x="519" y="98"/>
                </a:lnTo>
                <a:lnTo>
                  <a:pt x="509" y="87"/>
                </a:lnTo>
                <a:lnTo>
                  <a:pt x="498" y="78"/>
                </a:lnTo>
                <a:lnTo>
                  <a:pt x="487" y="68"/>
                </a:lnTo>
                <a:lnTo>
                  <a:pt x="477" y="59"/>
                </a:lnTo>
                <a:lnTo>
                  <a:pt x="465" y="52"/>
                </a:lnTo>
                <a:lnTo>
                  <a:pt x="453" y="43"/>
                </a:lnTo>
                <a:lnTo>
                  <a:pt x="440" y="37"/>
                </a:lnTo>
                <a:lnTo>
                  <a:pt x="427" y="30"/>
                </a:lnTo>
                <a:lnTo>
                  <a:pt x="414" y="24"/>
                </a:lnTo>
                <a:lnTo>
                  <a:pt x="400" y="18"/>
                </a:lnTo>
                <a:lnTo>
                  <a:pt x="387" y="14"/>
                </a:lnTo>
                <a:lnTo>
                  <a:pt x="373" y="10"/>
                </a:lnTo>
                <a:lnTo>
                  <a:pt x="358" y="6"/>
                </a:lnTo>
                <a:lnTo>
                  <a:pt x="344" y="4"/>
                </a:lnTo>
                <a:lnTo>
                  <a:pt x="329" y="2"/>
                </a:lnTo>
                <a:lnTo>
                  <a:pt x="314" y="1"/>
                </a:lnTo>
                <a:lnTo>
                  <a:pt x="298" y="0"/>
                </a:lnTo>
                <a:close/>
              </a:path>
            </a:pathLst>
          </a:custGeom>
          <a:solidFill>
            <a:srgbClr val="7C203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9" name="Freeform 39">
            <a:extLst>
              <a:ext uri="{FF2B5EF4-FFF2-40B4-BE49-F238E27FC236}">
                <a16:creationId xmlns:a16="http://schemas.microsoft.com/office/drawing/2014/main" id="{4B0FB586-2CFD-47C8-81E5-6D3191197F9A}"/>
              </a:ext>
            </a:extLst>
          </p:cNvPr>
          <p:cNvSpPr>
            <a:spLocks noEditPoints="1"/>
          </p:cNvSpPr>
          <p:nvPr/>
        </p:nvSpPr>
        <p:spPr bwMode="auto">
          <a:xfrm>
            <a:off x="5954068" y="3261748"/>
            <a:ext cx="283864" cy="283864"/>
          </a:xfrm>
          <a:custGeom>
            <a:avLst/>
            <a:gdLst>
              <a:gd name="T0" fmla="*/ 431 w 597"/>
              <a:gd name="T1" fmla="*/ 327 h 596"/>
              <a:gd name="T2" fmla="*/ 420 w 597"/>
              <a:gd name="T3" fmla="*/ 325 h 596"/>
              <a:gd name="T4" fmla="*/ 357 w 597"/>
              <a:gd name="T5" fmla="*/ 511 h 596"/>
              <a:gd name="T6" fmla="*/ 348 w 597"/>
              <a:gd name="T7" fmla="*/ 517 h 596"/>
              <a:gd name="T8" fmla="*/ 241 w 597"/>
              <a:gd name="T9" fmla="*/ 514 h 596"/>
              <a:gd name="T10" fmla="*/ 239 w 597"/>
              <a:gd name="T11" fmla="*/ 262 h 596"/>
              <a:gd name="T12" fmla="*/ 169 w 597"/>
              <a:gd name="T13" fmla="*/ 328 h 596"/>
              <a:gd name="T14" fmla="*/ 113 w 597"/>
              <a:gd name="T15" fmla="*/ 275 h 596"/>
              <a:gd name="T16" fmla="*/ 111 w 597"/>
              <a:gd name="T17" fmla="*/ 264 h 596"/>
              <a:gd name="T18" fmla="*/ 294 w 597"/>
              <a:gd name="T19" fmla="*/ 81 h 596"/>
              <a:gd name="T20" fmla="*/ 305 w 597"/>
              <a:gd name="T21" fmla="*/ 83 h 596"/>
              <a:gd name="T22" fmla="*/ 486 w 597"/>
              <a:gd name="T23" fmla="*/ 269 h 596"/>
              <a:gd name="T24" fmla="*/ 298 w 597"/>
              <a:gd name="T25" fmla="*/ 0 h 596"/>
              <a:gd name="T26" fmla="*/ 253 w 597"/>
              <a:gd name="T27" fmla="*/ 4 h 596"/>
              <a:gd name="T28" fmla="*/ 210 w 597"/>
              <a:gd name="T29" fmla="*/ 14 h 596"/>
              <a:gd name="T30" fmla="*/ 169 w 597"/>
              <a:gd name="T31" fmla="*/ 30 h 596"/>
              <a:gd name="T32" fmla="*/ 132 w 597"/>
              <a:gd name="T33" fmla="*/ 52 h 596"/>
              <a:gd name="T34" fmla="*/ 98 w 597"/>
              <a:gd name="T35" fmla="*/ 78 h 596"/>
              <a:gd name="T36" fmla="*/ 68 w 597"/>
              <a:gd name="T37" fmla="*/ 109 h 596"/>
              <a:gd name="T38" fmla="*/ 44 w 597"/>
              <a:gd name="T39" fmla="*/ 143 h 596"/>
              <a:gd name="T40" fmla="*/ 24 w 597"/>
              <a:gd name="T41" fmla="*/ 182 h 596"/>
              <a:gd name="T42" fmla="*/ 10 w 597"/>
              <a:gd name="T43" fmla="*/ 223 h 596"/>
              <a:gd name="T44" fmla="*/ 1 w 597"/>
              <a:gd name="T45" fmla="*/ 268 h 596"/>
              <a:gd name="T46" fmla="*/ 0 w 597"/>
              <a:gd name="T47" fmla="*/ 313 h 596"/>
              <a:gd name="T48" fmla="*/ 6 w 597"/>
              <a:gd name="T49" fmla="*/ 358 h 596"/>
              <a:gd name="T50" fmla="*/ 19 w 597"/>
              <a:gd name="T51" fmla="*/ 400 h 596"/>
              <a:gd name="T52" fmla="*/ 36 w 597"/>
              <a:gd name="T53" fmla="*/ 440 h 596"/>
              <a:gd name="T54" fmla="*/ 60 w 597"/>
              <a:gd name="T55" fmla="*/ 476 h 596"/>
              <a:gd name="T56" fmla="*/ 88 w 597"/>
              <a:gd name="T57" fmla="*/ 508 h 596"/>
              <a:gd name="T58" fmla="*/ 120 w 597"/>
              <a:gd name="T59" fmla="*/ 537 h 596"/>
              <a:gd name="T60" fmla="*/ 156 w 597"/>
              <a:gd name="T61" fmla="*/ 560 h 596"/>
              <a:gd name="T62" fmla="*/ 196 w 597"/>
              <a:gd name="T63" fmla="*/ 578 h 596"/>
              <a:gd name="T64" fmla="*/ 238 w 597"/>
              <a:gd name="T65" fmla="*/ 589 h 596"/>
              <a:gd name="T66" fmla="*/ 283 w 597"/>
              <a:gd name="T67" fmla="*/ 596 h 596"/>
              <a:gd name="T68" fmla="*/ 329 w 597"/>
              <a:gd name="T69" fmla="*/ 595 h 596"/>
              <a:gd name="T70" fmla="*/ 373 w 597"/>
              <a:gd name="T71" fmla="*/ 586 h 596"/>
              <a:gd name="T72" fmla="*/ 414 w 597"/>
              <a:gd name="T73" fmla="*/ 572 h 596"/>
              <a:gd name="T74" fmla="*/ 453 w 597"/>
              <a:gd name="T75" fmla="*/ 553 h 596"/>
              <a:gd name="T76" fmla="*/ 487 w 597"/>
              <a:gd name="T77" fmla="*/ 528 h 596"/>
              <a:gd name="T78" fmla="*/ 519 w 597"/>
              <a:gd name="T79" fmla="*/ 499 h 596"/>
              <a:gd name="T80" fmla="*/ 545 w 597"/>
              <a:gd name="T81" fmla="*/ 464 h 596"/>
              <a:gd name="T82" fmla="*/ 566 w 597"/>
              <a:gd name="T83" fmla="*/ 427 h 596"/>
              <a:gd name="T84" fmla="*/ 582 w 597"/>
              <a:gd name="T85" fmla="*/ 386 h 596"/>
              <a:gd name="T86" fmla="*/ 592 w 597"/>
              <a:gd name="T87" fmla="*/ 343 h 596"/>
              <a:gd name="T88" fmla="*/ 597 w 597"/>
              <a:gd name="T89" fmla="*/ 298 h 596"/>
              <a:gd name="T90" fmla="*/ 592 w 597"/>
              <a:gd name="T91" fmla="*/ 253 h 596"/>
              <a:gd name="T92" fmla="*/ 582 w 597"/>
              <a:gd name="T93" fmla="*/ 209 h 596"/>
              <a:gd name="T94" fmla="*/ 566 w 597"/>
              <a:gd name="T95" fmla="*/ 169 h 596"/>
              <a:gd name="T96" fmla="*/ 545 w 597"/>
              <a:gd name="T97" fmla="*/ 132 h 596"/>
              <a:gd name="T98" fmla="*/ 519 w 597"/>
              <a:gd name="T99" fmla="*/ 98 h 596"/>
              <a:gd name="T100" fmla="*/ 487 w 597"/>
              <a:gd name="T101" fmla="*/ 68 h 596"/>
              <a:gd name="T102" fmla="*/ 453 w 597"/>
              <a:gd name="T103" fmla="*/ 43 h 596"/>
              <a:gd name="T104" fmla="*/ 414 w 597"/>
              <a:gd name="T105" fmla="*/ 24 h 596"/>
              <a:gd name="T106" fmla="*/ 373 w 597"/>
              <a:gd name="T107" fmla="*/ 10 h 596"/>
              <a:gd name="T108" fmla="*/ 329 w 597"/>
              <a:gd name="T109" fmla="*/ 2 h 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97" h="596">
                <a:moveTo>
                  <a:pt x="484" y="275"/>
                </a:moveTo>
                <a:lnTo>
                  <a:pt x="435" y="325"/>
                </a:lnTo>
                <a:lnTo>
                  <a:pt x="431" y="327"/>
                </a:lnTo>
                <a:lnTo>
                  <a:pt x="427" y="328"/>
                </a:lnTo>
                <a:lnTo>
                  <a:pt x="424" y="327"/>
                </a:lnTo>
                <a:lnTo>
                  <a:pt x="420" y="325"/>
                </a:lnTo>
                <a:lnTo>
                  <a:pt x="358" y="262"/>
                </a:lnTo>
                <a:lnTo>
                  <a:pt x="358" y="506"/>
                </a:lnTo>
                <a:lnTo>
                  <a:pt x="357" y="511"/>
                </a:lnTo>
                <a:lnTo>
                  <a:pt x="355" y="514"/>
                </a:lnTo>
                <a:lnTo>
                  <a:pt x="351" y="516"/>
                </a:lnTo>
                <a:lnTo>
                  <a:pt x="348" y="517"/>
                </a:lnTo>
                <a:lnTo>
                  <a:pt x="249" y="517"/>
                </a:lnTo>
                <a:lnTo>
                  <a:pt x="244" y="516"/>
                </a:lnTo>
                <a:lnTo>
                  <a:pt x="241" y="514"/>
                </a:lnTo>
                <a:lnTo>
                  <a:pt x="239" y="511"/>
                </a:lnTo>
                <a:lnTo>
                  <a:pt x="239" y="506"/>
                </a:lnTo>
                <a:lnTo>
                  <a:pt x="239" y="262"/>
                </a:lnTo>
                <a:lnTo>
                  <a:pt x="176" y="325"/>
                </a:lnTo>
                <a:lnTo>
                  <a:pt x="173" y="327"/>
                </a:lnTo>
                <a:lnTo>
                  <a:pt x="169" y="328"/>
                </a:lnTo>
                <a:lnTo>
                  <a:pt x="166" y="327"/>
                </a:lnTo>
                <a:lnTo>
                  <a:pt x="162" y="325"/>
                </a:lnTo>
                <a:lnTo>
                  <a:pt x="113" y="275"/>
                </a:lnTo>
                <a:lnTo>
                  <a:pt x="111" y="272"/>
                </a:lnTo>
                <a:lnTo>
                  <a:pt x="109" y="269"/>
                </a:lnTo>
                <a:lnTo>
                  <a:pt x="111" y="264"/>
                </a:lnTo>
                <a:lnTo>
                  <a:pt x="113" y="261"/>
                </a:lnTo>
                <a:lnTo>
                  <a:pt x="291" y="83"/>
                </a:lnTo>
                <a:lnTo>
                  <a:pt x="294" y="81"/>
                </a:lnTo>
                <a:lnTo>
                  <a:pt x="298" y="80"/>
                </a:lnTo>
                <a:lnTo>
                  <a:pt x="302" y="81"/>
                </a:lnTo>
                <a:lnTo>
                  <a:pt x="305" y="83"/>
                </a:lnTo>
                <a:lnTo>
                  <a:pt x="484" y="261"/>
                </a:lnTo>
                <a:lnTo>
                  <a:pt x="486" y="264"/>
                </a:lnTo>
                <a:lnTo>
                  <a:pt x="486" y="269"/>
                </a:lnTo>
                <a:lnTo>
                  <a:pt x="486" y="272"/>
                </a:lnTo>
                <a:lnTo>
                  <a:pt x="484" y="275"/>
                </a:lnTo>
                <a:close/>
                <a:moveTo>
                  <a:pt x="298" y="0"/>
                </a:moveTo>
                <a:lnTo>
                  <a:pt x="283" y="1"/>
                </a:lnTo>
                <a:lnTo>
                  <a:pt x="268" y="2"/>
                </a:lnTo>
                <a:lnTo>
                  <a:pt x="253" y="4"/>
                </a:lnTo>
                <a:lnTo>
                  <a:pt x="238" y="6"/>
                </a:lnTo>
                <a:lnTo>
                  <a:pt x="224" y="10"/>
                </a:lnTo>
                <a:lnTo>
                  <a:pt x="210" y="14"/>
                </a:lnTo>
                <a:lnTo>
                  <a:pt x="196" y="18"/>
                </a:lnTo>
                <a:lnTo>
                  <a:pt x="182" y="24"/>
                </a:lnTo>
                <a:lnTo>
                  <a:pt x="169" y="30"/>
                </a:lnTo>
                <a:lnTo>
                  <a:pt x="156" y="37"/>
                </a:lnTo>
                <a:lnTo>
                  <a:pt x="144" y="43"/>
                </a:lnTo>
                <a:lnTo>
                  <a:pt x="132" y="52"/>
                </a:lnTo>
                <a:lnTo>
                  <a:pt x="120" y="59"/>
                </a:lnTo>
                <a:lnTo>
                  <a:pt x="108" y="68"/>
                </a:lnTo>
                <a:lnTo>
                  <a:pt x="98" y="78"/>
                </a:lnTo>
                <a:lnTo>
                  <a:pt x="88" y="87"/>
                </a:lnTo>
                <a:lnTo>
                  <a:pt x="78" y="98"/>
                </a:lnTo>
                <a:lnTo>
                  <a:pt x="68" y="109"/>
                </a:lnTo>
                <a:lnTo>
                  <a:pt x="60" y="120"/>
                </a:lnTo>
                <a:lnTo>
                  <a:pt x="51" y="132"/>
                </a:lnTo>
                <a:lnTo>
                  <a:pt x="44" y="143"/>
                </a:lnTo>
                <a:lnTo>
                  <a:pt x="36" y="156"/>
                </a:lnTo>
                <a:lnTo>
                  <a:pt x="30" y="169"/>
                </a:lnTo>
                <a:lnTo>
                  <a:pt x="24" y="182"/>
                </a:lnTo>
                <a:lnTo>
                  <a:pt x="19" y="195"/>
                </a:lnTo>
                <a:lnTo>
                  <a:pt x="13" y="209"/>
                </a:lnTo>
                <a:lnTo>
                  <a:pt x="10" y="223"/>
                </a:lnTo>
                <a:lnTo>
                  <a:pt x="6" y="238"/>
                </a:lnTo>
                <a:lnTo>
                  <a:pt x="4" y="253"/>
                </a:lnTo>
                <a:lnTo>
                  <a:pt x="1" y="268"/>
                </a:lnTo>
                <a:lnTo>
                  <a:pt x="0" y="283"/>
                </a:lnTo>
                <a:lnTo>
                  <a:pt x="0" y="298"/>
                </a:lnTo>
                <a:lnTo>
                  <a:pt x="0" y="313"/>
                </a:lnTo>
                <a:lnTo>
                  <a:pt x="1" y="328"/>
                </a:lnTo>
                <a:lnTo>
                  <a:pt x="4" y="343"/>
                </a:lnTo>
                <a:lnTo>
                  <a:pt x="6" y="358"/>
                </a:lnTo>
                <a:lnTo>
                  <a:pt x="10" y="372"/>
                </a:lnTo>
                <a:lnTo>
                  <a:pt x="13" y="386"/>
                </a:lnTo>
                <a:lnTo>
                  <a:pt x="19" y="400"/>
                </a:lnTo>
                <a:lnTo>
                  <a:pt x="24" y="413"/>
                </a:lnTo>
                <a:lnTo>
                  <a:pt x="30" y="427"/>
                </a:lnTo>
                <a:lnTo>
                  <a:pt x="36" y="440"/>
                </a:lnTo>
                <a:lnTo>
                  <a:pt x="44" y="452"/>
                </a:lnTo>
                <a:lnTo>
                  <a:pt x="51" y="464"/>
                </a:lnTo>
                <a:lnTo>
                  <a:pt x="60" y="476"/>
                </a:lnTo>
                <a:lnTo>
                  <a:pt x="68" y="488"/>
                </a:lnTo>
                <a:lnTo>
                  <a:pt x="78" y="499"/>
                </a:lnTo>
                <a:lnTo>
                  <a:pt x="88" y="508"/>
                </a:lnTo>
                <a:lnTo>
                  <a:pt x="98" y="518"/>
                </a:lnTo>
                <a:lnTo>
                  <a:pt x="108" y="528"/>
                </a:lnTo>
                <a:lnTo>
                  <a:pt x="120" y="537"/>
                </a:lnTo>
                <a:lnTo>
                  <a:pt x="132" y="545"/>
                </a:lnTo>
                <a:lnTo>
                  <a:pt x="144" y="553"/>
                </a:lnTo>
                <a:lnTo>
                  <a:pt x="156" y="560"/>
                </a:lnTo>
                <a:lnTo>
                  <a:pt x="169" y="567"/>
                </a:lnTo>
                <a:lnTo>
                  <a:pt x="182" y="572"/>
                </a:lnTo>
                <a:lnTo>
                  <a:pt x="196" y="578"/>
                </a:lnTo>
                <a:lnTo>
                  <a:pt x="210" y="583"/>
                </a:lnTo>
                <a:lnTo>
                  <a:pt x="224" y="586"/>
                </a:lnTo>
                <a:lnTo>
                  <a:pt x="238" y="589"/>
                </a:lnTo>
                <a:lnTo>
                  <a:pt x="253" y="593"/>
                </a:lnTo>
                <a:lnTo>
                  <a:pt x="268" y="595"/>
                </a:lnTo>
                <a:lnTo>
                  <a:pt x="283" y="596"/>
                </a:lnTo>
                <a:lnTo>
                  <a:pt x="298" y="596"/>
                </a:lnTo>
                <a:lnTo>
                  <a:pt x="314" y="596"/>
                </a:lnTo>
                <a:lnTo>
                  <a:pt x="329" y="595"/>
                </a:lnTo>
                <a:lnTo>
                  <a:pt x="344" y="593"/>
                </a:lnTo>
                <a:lnTo>
                  <a:pt x="358" y="589"/>
                </a:lnTo>
                <a:lnTo>
                  <a:pt x="373" y="586"/>
                </a:lnTo>
                <a:lnTo>
                  <a:pt x="387" y="583"/>
                </a:lnTo>
                <a:lnTo>
                  <a:pt x="400" y="578"/>
                </a:lnTo>
                <a:lnTo>
                  <a:pt x="414" y="572"/>
                </a:lnTo>
                <a:lnTo>
                  <a:pt x="427" y="567"/>
                </a:lnTo>
                <a:lnTo>
                  <a:pt x="440" y="560"/>
                </a:lnTo>
                <a:lnTo>
                  <a:pt x="453" y="553"/>
                </a:lnTo>
                <a:lnTo>
                  <a:pt x="465" y="545"/>
                </a:lnTo>
                <a:lnTo>
                  <a:pt x="477" y="537"/>
                </a:lnTo>
                <a:lnTo>
                  <a:pt x="487" y="528"/>
                </a:lnTo>
                <a:lnTo>
                  <a:pt x="498" y="518"/>
                </a:lnTo>
                <a:lnTo>
                  <a:pt x="509" y="508"/>
                </a:lnTo>
                <a:lnTo>
                  <a:pt x="519" y="499"/>
                </a:lnTo>
                <a:lnTo>
                  <a:pt x="528" y="488"/>
                </a:lnTo>
                <a:lnTo>
                  <a:pt x="537" y="476"/>
                </a:lnTo>
                <a:lnTo>
                  <a:pt x="545" y="464"/>
                </a:lnTo>
                <a:lnTo>
                  <a:pt x="553" y="452"/>
                </a:lnTo>
                <a:lnTo>
                  <a:pt x="560" y="440"/>
                </a:lnTo>
                <a:lnTo>
                  <a:pt x="566" y="427"/>
                </a:lnTo>
                <a:lnTo>
                  <a:pt x="573" y="413"/>
                </a:lnTo>
                <a:lnTo>
                  <a:pt x="578" y="400"/>
                </a:lnTo>
                <a:lnTo>
                  <a:pt x="582" y="386"/>
                </a:lnTo>
                <a:lnTo>
                  <a:pt x="587" y="372"/>
                </a:lnTo>
                <a:lnTo>
                  <a:pt x="590" y="358"/>
                </a:lnTo>
                <a:lnTo>
                  <a:pt x="592" y="343"/>
                </a:lnTo>
                <a:lnTo>
                  <a:pt x="594" y="328"/>
                </a:lnTo>
                <a:lnTo>
                  <a:pt x="595" y="313"/>
                </a:lnTo>
                <a:lnTo>
                  <a:pt x="597" y="298"/>
                </a:lnTo>
                <a:lnTo>
                  <a:pt x="595" y="283"/>
                </a:lnTo>
                <a:lnTo>
                  <a:pt x="594" y="268"/>
                </a:lnTo>
                <a:lnTo>
                  <a:pt x="592" y="253"/>
                </a:lnTo>
                <a:lnTo>
                  <a:pt x="590" y="238"/>
                </a:lnTo>
                <a:lnTo>
                  <a:pt x="587" y="223"/>
                </a:lnTo>
                <a:lnTo>
                  <a:pt x="582" y="209"/>
                </a:lnTo>
                <a:lnTo>
                  <a:pt x="578" y="195"/>
                </a:lnTo>
                <a:lnTo>
                  <a:pt x="573" y="182"/>
                </a:lnTo>
                <a:lnTo>
                  <a:pt x="566" y="169"/>
                </a:lnTo>
                <a:lnTo>
                  <a:pt x="560" y="156"/>
                </a:lnTo>
                <a:lnTo>
                  <a:pt x="553" y="143"/>
                </a:lnTo>
                <a:lnTo>
                  <a:pt x="545" y="132"/>
                </a:lnTo>
                <a:lnTo>
                  <a:pt x="537" y="120"/>
                </a:lnTo>
                <a:lnTo>
                  <a:pt x="528" y="109"/>
                </a:lnTo>
                <a:lnTo>
                  <a:pt x="519" y="98"/>
                </a:lnTo>
                <a:lnTo>
                  <a:pt x="509" y="87"/>
                </a:lnTo>
                <a:lnTo>
                  <a:pt x="498" y="78"/>
                </a:lnTo>
                <a:lnTo>
                  <a:pt x="487" y="68"/>
                </a:lnTo>
                <a:lnTo>
                  <a:pt x="477" y="59"/>
                </a:lnTo>
                <a:lnTo>
                  <a:pt x="465" y="52"/>
                </a:lnTo>
                <a:lnTo>
                  <a:pt x="453" y="43"/>
                </a:lnTo>
                <a:lnTo>
                  <a:pt x="440" y="37"/>
                </a:lnTo>
                <a:lnTo>
                  <a:pt x="427" y="30"/>
                </a:lnTo>
                <a:lnTo>
                  <a:pt x="414" y="24"/>
                </a:lnTo>
                <a:lnTo>
                  <a:pt x="400" y="18"/>
                </a:lnTo>
                <a:lnTo>
                  <a:pt x="387" y="14"/>
                </a:lnTo>
                <a:lnTo>
                  <a:pt x="373" y="10"/>
                </a:lnTo>
                <a:lnTo>
                  <a:pt x="358" y="6"/>
                </a:lnTo>
                <a:lnTo>
                  <a:pt x="344" y="4"/>
                </a:lnTo>
                <a:lnTo>
                  <a:pt x="329" y="2"/>
                </a:lnTo>
                <a:lnTo>
                  <a:pt x="314" y="1"/>
                </a:lnTo>
                <a:lnTo>
                  <a:pt x="298" y="0"/>
                </a:lnTo>
                <a:close/>
              </a:path>
            </a:pathLst>
          </a:custGeom>
          <a:solidFill>
            <a:srgbClr val="F8595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35F4F90-7A12-4B97-9EDE-A4FB523CF637}"/>
              </a:ext>
            </a:extLst>
          </p:cNvPr>
          <p:cNvSpPr/>
          <p:nvPr/>
        </p:nvSpPr>
        <p:spPr>
          <a:xfrm>
            <a:off x="4764575" y="2591786"/>
            <a:ext cx="2512525" cy="619028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ceiver Nam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A35B6E5-C34B-42F0-9ED2-FCE38C27682F}"/>
              </a:ext>
            </a:extLst>
          </p:cNvPr>
          <p:cNvSpPr/>
          <p:nvPr/>
        </p:nvSpPr>
        <p:spPr>
          <a:xfrm>
            <a:off x="4764574" y="3555607"/>
            <a:ext cx="2512525" cy="619028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Receiver’s PANCARD</a:t>
            </a:r>
            <a:endParaRPr kumimoji="0" lang="en-IN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39CB76C-624A-4176-91B3-EBE5F85C40FC}"/>
              </a:ext>
            </a:extLst>
          </p:cNvPr>
          <p:cNvSpPr/>
          <p:nvPr/>
        </p:nvSpPr>
        <p:spPr>
          <a:xfrm>
            <a:off x="4780617" y="4265047"/>
            <a:ext cx="2512525" cy="619028"/>
          </a:xfrm>
          <a:prstGeom prst="rect">
            <a:avLst/>
          </a:prstGeom>
          <a:solidFill>
            <a:srgbClr val="DA81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mount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B9E26B5-63F8-4546-9C21-E29B0D2C59E1}"/>
              </a:ext>
            </a:extLst>
          </p:cNvPr>
          <p:cNvSpPr/>
          <p:nvPr/>
        </p:nvSpPr>
        <p:spPr>
          <a:xfrm>
            <a:off x="5189717" y="5378796"/>
            <a:ext cx="1785770" cy="1093455"/>
          </a:xfrm>
          <a:prstGeom prst="ellipse">
            <a:avLst/>
          </a:prstGeom>
          <a:solidFill>
            <a:srgbClr val="4A3F6F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ubmi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5BD70FD-BAD3-43BE-BA82-E9692F06EB0D}"/>
              </a:ext>
            </a:extLst>
          </p:cNvPr>
          <p:cNvSpPr/>
          <p:nvPr/>
        </p:nvSpPr>
        <p:spPr>
          <a:xfrm>
            <a:off x="4780617" y="1732417"/>
            <a:ext cx="2512525" cy="619028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pdate Chai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389B3ED-AFDD-4C48-A6B0-06DF71E73D57}"/>
              </a:ext>
            </a:extLst>
          </p:cNvPr>
          <p:cNvGrpSpPr/>
          <p:nvPr/>
        </p:nvGrpSpPr>
        <p:grpSpPr>
          <a:xfrm>
            <a:off x="8152850" y="3630806"/>
            <a:ext cx="3331374" cy="1893277"/>
            <a:chOff x="8152850" y="2929080"/>
            <a:chExt cx="3331374" cy="1893277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80363C3-3791-49CD-9599-2F6F7BC7B0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52850" y="2929080"/>
              <a:ext cx="3331374" cy="1893277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C553F0C-9599-4A10-B26A-C7BD93D41B5E}"/>
                </a:ext>
              </a:extLst>
            </p:cNvPr>
            <p:cNvSpPr/>
            <p:nvPr/>
          </p:nvSpPr>
          <p:spPr>
            <a:xfrm>
              <a:off x="9552791" y="4528969"/>
              <a:ext cx="484093" cy="293388"/>
            </a:xfrm>
            <a:prstGeom prst="rect">
              <a:avLst/>
            </a:prstGeom>
            <a:solidFill>
              <a:srgbClr val="0D5BA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8FD82B05-F5BC-4230-9A61-76671EC3F8F7}"/>
              </a:ext>
            </a:extLst>
          </p:cNvPr>
          <p:cNvSpPr txBox="1"/>
          <p:nvPr/>
        </p:nvSpPr>
        <p:spPr>
          <a:xfrm>
            <a:off x="8626324" y="2899281"/>
            <a:ext cx="25611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chemeClr val="bg1"/>
                </a:solidFill>
              </a:rPr>
              <a:t>Government </a:t>
            </a:r>
            <a:r>
              <a:rPr lang="en-IN" dirty="0" err="1">
                <a:solidFill>
                  <a:schemeClr val="bg1"/>
                </a:solidFill>
              </a:rPr>
              <a:t>Pancard</a:t>
            </a:r>
            <a:endParaRPr lang="en-IN" dirty="0">
              <a:solidFill>
                <a:schemeClr val="bg1"/>
              </a:solidFill>
            </a:endParaRPr>
          </a:p>
          <a:p>
            <a:r>
              <a:rPr lang="en-IN" dirty="0">
                <a:solidFill>
                  <a:schemeClr val="bg1"/>
                </a:solidFill>
              </a:rPr>
              <a:t>Databas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EF44DC8-0916-4720-A1B5-713142BF98E5}"/>
              </a:ext>
            </a:extLst>
          </p:cNvPr>
          <p:cNvSpPr/>
          <p:nvPr/>
        </p:nvSpPr>
        <p:spPr>
          <a:xfrm>
            <a:off x="8573979" y="1812484"/>
            <a:ext cx="2512525" cy="619028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alidation</a:t>
            </a:r>
          </a:p>
        </p:txBody>
      </p:sp>
    </p:spTree>
    <p:extLst>
      <p:ext uri="{BB962C8B-B14F-4D97-AF65-F5344CB8AC3E}">
        <p14:creationId xmlns:p14="http://schemas.microsoft.com/office/powerpoint/2010/main" val="10925128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zigZag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A252347A-73EF-4021-A502-2D02F6F1D190}"/>
              </a:ext>
            </a:extLst>
          </p:cNvPr>
          <p:cNvSpPr/>
          <p:nvPr/>
        </p:nvSpPr>
        <p:spPr>
          <a:xfrm rot="10800000">
            <a:off x="4911725" y="-21514"/>
            <a:ext cx="7280275" cy="1238863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1" name="Date Placeholder 50">
            <a:extLst>
              <a:ext uri="{FF2B5EF4-FFF2-40B4-BE49-F238E27FC236}">
                <a16:creationId xmlns:a16="http://schemas.microsoft.com/office/drawing/2014/main" id="{7503AC9C-2A15-4763-9BD1-8EE7F5EB1B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1601AE-D121-467F-9CAE-E6980EB143C1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1/20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EBDFF3E-5A86-4B81-8566-553C3E16EB8C}"/>
              </a:ext>
            </a:extLst>
          </p:cNvPr>
          <p:cNvSpPr/>
          <p:nvPr/>
        </p:nvSpPr>
        <p:spPr>
          <a:xfrm>
            <a:off x="108089" y="939331"/>
            <a:ext cx="5055582" cy="2780758"/>
          </a:xfrm>
          <a:prstGeom prst="rect">
            <a:avLst/>
          </a:prstGeom>
          <a:solidFill>
            <a:srgbClr val="F5F6F9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3" name="Round Same Side Corner Rectangle 17">
            <a:extLst>
              <a:ext uri="{FF2B5EF4-FFF2-40B4-BE49-F238E27FC236}">
                <a16:creationId xmlns:a16="http://schemas.microsoft.com/office/drawing/2014/main" id="{5646FED5-1DB9-46B1-B340-7538C38E647C}"/>
              </a:ext>
            </a:extLst>
          </p:cNvPr>
          <p:cNvSpPr/>
          <p:nvPr/>
        </p:nvSpPr>
        <p:spPr>
          <a:xfrm>
            <a:off x="108089" y="623261"/>
            <a:ext cx="5055582" cy="514048"/>
          </a:xfrm>
          <a:prstGeom prst="round2SameRect">
            <a:avLst>
              <a:gd name="adj1" fmla="val 27778"/>
              <a:gd name="adj2" fmla="val 0"/>
            </a:avLst>
          </a:prstGeom>
          <a:solidFill>
            <a:srgbClr val="9763AB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ＭＳ Ｐゴシック" charset="0"/>
                <a:cs typeface="ＭＳ Ｐゴシック" charset="0"/>
              </a:rPr>
              <a:t>Step 1: Connecting the nodes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0E9B2F1-6EFF-4933-9F1A-9C7A505F72A1}"/>
              </a:ext>
            </a:extLst>
          </p:cNvPr>
          <p:cNvSpPr/>
          <p:nvPr/>
        </p:nvSpPr>
        <p:spPr>
          <a:xfrm>
            <a:off x="6532197" y="4059425"/>
            <a:ext cx="5055582" cy="2780758"/>
          </a:xfrm>
          <a:prstGeom prst="rect">
            <a:avLst/>
          </a:prstGeom>
          <a:solidFill>
            <a:srgbClr val="F5F6F9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8" name="Round Same Side Corner Rectangle 17">
            <a:extLst>
              <a:ext uri="{FF2B5EF4-FFF2-40B4-BE49-F238E27FC236}">
                <a16:creationId xmlns:a16="http://schemas.microsoft.com/office/drawing/2014/main" id="{9EE85890-7FBB-4D24-B1A2-24953B66FF32}"/>
              </a:ext>
            </a:extLst>
          </p:cNvPr>
          <p:cNvSpPr/>
          <p:nvPr/>
        </p:nvSpPr>
        <p:spPr>
          <a:xfrm>
            <a:off x="6532197" y="3741205"/>
            <a:ext cx="5055582" cy="514048"/>
          </a:xfrm>
          <a:prstGeom prst="round2SameRect">
            <a:avLst>
              <a:gd name="adj1" fmla="val 27778"/>
              <a:gd name="adj2" fmla="val 0"/>
            </a:avLst>
          </a:prstGeom>
          <a:solidFill>
            <a:srgbClr val="9763AB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ＭＳ Ｐゴシック" charset="0"/>
              <a:cs typeface="ＭＳ Ｐゴシック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7AB24F9-1651-426D-B22F-2FCE5AC99B82}"/>
              </a:ext>
            </a:extLst>
          </p:cNvPr>
          <p:cNvSpPr/>
          <p:nvPr/>
        </p:nvSpPr>
        <p:spPr>
          <a:xfrm>
            <a:off x="108089" y="4077242"/>
            <a:ext cx="5055582" cy="2780758"/>
          </a:xfrm>
          <a:prstGeom prst="rect">
            <a:avLst/>
          </a:prstGeom>
          <a:solidFill>
            <a:srgbClr val="DADFE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ound Same Side Corner Rectangle 17">
            <a:extLst>
              <a:ext uri="{FF2B5EF4-FFF2-40B4-BE49-F238E27FC236}">
                <a16:creationId xmlns:a16="http://schemas.microsoft.com/office/drawing/2014/main" id="{EAAE003E-4DBC-4F33-85FD-D9883F3E7CF8}"/>
              </a:ext>
            </a:extLst>
          </p:cNvPr>
          <p:cNvSpPr/>
          <p:nvPr/>
        </p:nvSpPr>
        <p:spPr>
          <a:xfrm>
            <a:off x="108089" y="3759022"/>
            <a:ext cx="5055582" cy="514048"/>
          </a:xfrm>
          <a:prstGeom prst="round2SameRect">
            <a:avLst>
              <a:gd name="adj1" fmla="val 27778"/>
              <a:gd name="adj2" fmla="val 0"/>
            </a:avLst>
          </a:prstGeom>
          <a:solidFill>
            <a:srgbClr val="CF7CC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ＭＳ Ｐゴシック" charset="0"/>
                <a:cs typeface="ＭＳ Ｐゴシック" charset="0"/>
              </a:rPr>
              <a:t>Step 3: Adding a transaction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2D5F971B-1F3E-4396-930B-4A9FC0F3AB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1568" y="1335496"/>
            <a:ext cx="4985772" cy="1927215"/>
          </a:xfrm>
          <a:prstGeom prst="rect">
            <a:avLst/>
          </a:prstGeom>
        </p:spPr>
      </p:pic>
      <p:sp>
        <p:nvSpPr>
          <p:cNvPr id="76" name="Rectangle 75">
            <a:extLst>
              <a:ext uri="{FF2B5EF4-FFF2-40B4-BE49-F238E27FC236}">
                <a16:creationId xmlns:a16="http://schemas.microsoft.com/office/drawing/2014/main" id="{AA61524C-72CD-46A6-9DBA-47F50529B85E}"/>
              </a:ext>
            </a:extLst>
          </p:cNvPr>
          <p:cNvSpPr/>
          <p:nvPr/>
        </p:nvSpPr>
        <p:spPr>
          <a:xfrm>
            <a:off x="6388695" y="925593"/>
            <a:ext cx="5136428" cy="2637473"/>
          </a:xfrm>
          <a:prstGeom prst="rect">
            <a:avLst/>
          </a:prstGeom>
          <a:solidFill>
            <a:srgbClr val="DADFE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7" name="Round Same Side Corner Rectangle 17">
            <a:extLst>
              <a:ext uri="{FF2B5EF4-FFF2-40B4-BE49-F238E27FC236}">
                <a16:creationId xmlns:a16="http://schemas.microsoft.com/office/drawing/2014/main" id="{CC146E3F-77FC-4E96-8BAB-3FB7DC748577}"/>
              </a:ext>
            </a:extLst>
          </p:cNvPr>
          <p:cNvSpPr/>
          <p:nvPr/>
        </p:nvSpPr>
        <p:spPr>
          <a:xfrm>
            <a:off x="6388695" y="623770"/>
            <a:ext cx="5136428" cy="487561"/>
          </a:xfrm>
          <a:prstGeom prst="round2SameRect">
            <a:avLst>
              <a:gd name="adj1" fmla="val 27778"/>
              <a:gd name="adj2" fmla="val 0"/>
            </a:avLst>
          </a:prstGeom>
          <a:solidFill>
            <a:srgbClr val="CF7CC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ＭＳ Ｐゴシック" charset="0"/>
                <a:cs typeface="ＭＳ Ｐゴシック" charset="0"/>
              </a:rPr>
              <a:t>Step 2: Get information about the chain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85F399DC-AB83-40BB-9AF4-4BD20F3B627D}"/>
              </a:ext>
            </a:extLst>
          </p:cNvPr>
          <p:cNvSpPr txBox="1"/>
          <p:nvPr/>
        </p:nvSpPr>
        <p:spPr>
          <a:xfrm>
            <a:off x="6646433" y="3754436"/>
            <a:ext cx="505558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Step 4: Mining the created bloc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938AC1F-34A4-4E37-A940-F6C96CA5B0D8}"/>
              </a:ext>
            </a:extLst>
          </p:cNvPr>
          <p:cNvSpPr txBox="1"/>
          <p:nvPr/>
        </p:nvSpPr>
        <p:spPr>
          <a:xfrm>
            <a:off x="580913" y="0"/>
            <a:ext cx="35930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600" b="1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  <a:ea typeface="Segoe UI Black" panose="020B0A02040204020203" pitchFamily="34" charset="0"/>
                <a:cs typeface="Segoe UI" panose="020B0502040204020203" pitchFamily="34" charset="0"/>
              </a:rPr>
              <a:t>Processe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92A545E-50F3-419A-9C0E-6BD5ABC44C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203" y="1147881"/>
            <a:ext cx="4973354" cy="2688715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2F7B093-C916-443C-BB66-117AA0E5E0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6499" y="1098971"/>
            <a:ext cx="5108623" cy="236009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4802B8AD-C6EA-438D-9D07-A0A87F42F3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957" y="4334693"/>
            <a:ext cx="5081846" cy="24285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B2B87E21-0115-4618-8A00-64C4CD50F2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32197" y="4268484"/>
            <a:ext cx="4429845" cy="2583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5806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zigZag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A252347A-73EF-4021-A502-2D02F6F1D190}"/>
              </a:ext>
            </a:extLst>
          </p:cNvPr>
          <p:cNvSpPr/>
          <p:nvPr/>
        </p:nvSpPr>
        <p:spPr>
          <a:xfrm rot="10800000">
            <a:off x="4911725" y="1"/>
            <a:ext cx="7280275" cy="1238863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2F4964F9-79AB-4BE1-9862-76CE4510D553}"/>
              </a:ext>
            </a:extLst>
          </p:cNvPr>
          <p:cNvSpPr/>
          <p:nvPr/>
        </p:nvSpPr>
        <p:spPr>
          <a:xfrm>
            <a:off x="-3175" y="5619137"/>
            <a:ext cx="7280275" cy="1238863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174DEE18-1746-4BF2-8B91-E7239491A1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3315" y="98926"/>
            <a:ext cx="953423" cy="2795892"/>
          </a:xfrm>
          <a:prstGeom prst="rect">
            <a:avLst/>
          </a:prstGeom>
        </p:spPr>
      </p:pic>
      <p:sp>
        <p:nvSpPr>
          <p:cNvPr id="58" name="Title 1">
            <a:extLst>
              <a:ext uri="{FF2B5EF4-FFF2-40B4-BE49-F238E27FC236}">
                <a16:creationId xmlns:a16="http://schemas.microsoft.com/office/drawing/2014/main" id="{E3C88A83-A472-4331-B141-43FCA23F8220}"/>
              </a:ext>
            </a:extLst>
          </p:cNvPr>
          <p:cNvSpPr txBox="1">
            <a:spLocks/>
          </p:cNvSpPr>
          <p:nvPr/>
        </p:nvSpPr>
        <p:spPr>
          <a:xfrm>
            <a:off x="494923" y="381536"/>
            <a:ext cx="11202154" cy="7424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132A50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132A50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SWOT ANALYSI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132A50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C50A552-61B8-4F45-B60A-A7D1F124403A}"/>
              </a:ext>
            </a:extLst>
          </p:cNvPr>
          <p:cNvGrpSpPr/>
          <p:nvPr/>
        </p:nvGrpSpPr>
        <p:grpSpPr>
          <a:xfrm>
            <a:off x="8927270" y="1895139"/>
            <a:ext cx="2769808" cy="1847199"/>
            <a:chOff x="8927270" y="2000639"/>
            <a:chExt cx="2769808" cy="1847199"/>
          </a:xfrm>
        </p:grpSpPr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1CAB3811-7539-494A-A0B4-1B482D17BCCA}"/>
                </a:ext>
              </a:extLst>
            </p:cNvPr>
            <p:cNvSpPr txBox="1"/>
            <p:nvPr/>
          </p:nvSpPr>
          <p:spPr>
            <a:xfrm>
              <a:off x="8927270" y="2339733"/>
              <a:ext cx="2769808" cy="150810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Requirement Of Skilled </a:t>
              </a: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labour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cs typeface="Calibri" panose="020F0502020204030204" pitchFamily="34" charset="0"/>
              </a:endParaRP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Scaling is a challenging task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Data once written cannot be removed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Users have to maintain their own wallet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400" kern="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 panose="020F0502020204030204"/>
                  <a:cs typeface="Calibri" panose="020F0502020204030204" pitchFamily="34" charset="0"/>
                </a:rPr>
                <a:t>Complex Hashing technique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cs typeface="Calibri" panose="020F0502020204030204" pitchFamily="34" charset="0"/>
              </a:endParaRP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0ADFE05D-7D69-453D-9E42-C02C864618E1}"/>
                </a:ext>
              </a:extLst>
            </p:cNvPr>
            <p:cNvSpPr txBox="1"/>
            <p:nvPr/>
          </p:nvSpPr>
          <p:spPr>
            <a:xfrm>
              <a:off x="8927270" y="2000639"/>
              <a:ext cx="2769808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Weakness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51497FD-9AB5-43FF-94AE-2752F5B6180C}"/>
              </a:ext>
            </a:extLst>
          </p:cNvPr>
          <p:cNvGrpSpPr/>
          <p:nvPr/>
        </p:nvGrpSpPr>
        <p:grpSpPr>
          <a:xfrm>
            <a:off x="8927270" y="4423821"/>
            <a:ext cx="2769808" cy="2284128"/>
            <a:chOff x="8927270" y="2000639"/>
            <a:chExt cx="2769808" cy="2284128"/>
          </a:xfrm>
        </p:grpSpPr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115D70E9-3AD9-48F3-AEE0-EC2C439C1FD5}"/>
                </a:ext>
              </a:extLst>
            </p:cNvPr>
            <p:cNvSpPr txBox="1"/>
            <p:nvPr/>
          </p:nvSpPr>
          <p:spPr>
            <a:xfrm>
              <a:off x="8927270" y="2345775"/>
              <a:ext cx="2769808" cy="193899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Internet Infrastructur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 panose="020F0502020204030204"/>
                  <a:cs typeface="Calibri" panose="020F0502020204030204" pitchFamily="34" charset="0"/>
                </a:rPr>
                <a:t>Government Regulation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 panose="020F0502020204030204"/>
                  <a:cs typeface="Calibri" panose="020F0502020204030204" pitchFamily="34" charset="0"/>
                </a:rPr>
                <a:t>Evolution of new technology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alibri" panose="020F0502020204030204"/>
                  <a:cs typeface="Calibri" panose="020F0502020204030204" pitchFamily="34" charset="0"/>
                </a:rPr>
                <a:t>Money laundering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14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  <a:cs typeface="Calibri" panose="020F050202020403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14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  <a:cs typeface="Calibri" panose="020F050202020403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cs typeface="Calibri" panose="020F050202020403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cs typeface="Calibri" panose="020F050202020403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cs typeface="Calibri" panose="020F0502020204030204" pitchFamily="34" charset="0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75A4A8AB-53DB-476F-ABE6-EB6DC2EFECEB}"/>
                </a:ext>
              </a:extLst>
            </p:cNvPr>
            <p:cNvSpPr txBox="1"/>
            <p:nvPr/>
          </p:nvSpPr>
          <p:spPr>
            <a:xfrm>
              <a:off x="8927270" y="2000639"/>
              <a:ext cx="2769808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Threat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19E4AE7D-EC1B-4A67-9563-C7432F59E1F4}"/>
              </a:ext>
            </a:extLst>
          </p:cNvPr>
          <p:cNvGrpSpPr/>
          <p:nvPr/>
        </p:nvGrpSpPr>
        <p:grpSpPr>
          <a:xfrm>
            <a:off x="481422" y="1895139"/>
            <a:ext cx="2769808" cy="1631755"/>
            <a:chOff x="8927270" y="2000639"/>
            <a:chExt cx="2769808" cy="1631755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A885E8CE-FC65-44A2-B87E-362B35EAC134}"/>
                </a:ext>
              </a:extLst>
            </p:cNvPr>
            <p:cNvSpPr txBox="1"/>
            <p:nvPr/>
          </p:nvSpPr>
          <p:spPr>
            <a:xfrm>
              <a:off x="8927270" y="2555176"/>
              <a:ext cx="2769808" cy="107721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Lower cost of Ownership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Secure Encryption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Tamper Proof Capabilities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Verdana" panose="020B0604030504040204" pitchFamily="34" charset="0"/>
                </a:rPr>
                <a:t> 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Verdana" panose="020B0604030504040204" pitchFamily="34" charset="0"/>
                  <a:cs typeface="Calibri" panose="020F0502020204030204" pitchFamily="34" charset="0"/>
                </a:rPr>
                <a:t>I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ntegrates accounting into transaction record itself. 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82BDE2DE-EC51-4EC1-A308-CF1FFD969E16}"/>
                </a:ext>
              </a:extLst>
            </p:cNvPr>
            <p:cNvSpPr txBox="1"/>
            <p:nvPr/>
          </p:nvSpPr>
          <p:spPr>
            <a:xfrm>
              <a:off x="8927270" y="2000639"/>
              <a:ext cx="2769808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STRENGTH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04F74C6F-04EF-41C7-8D85-F554A461F5C1}"/>
              </a:ext>
            </a:extLst>
          </p:cNvPr>
          <p:cNvGrpSpPr/>
          <p:nvPr/>
        </p:nvGrpSpPr>
        <p:grpSpPr>
          <a:xfrm>
            <a:off x="467997" y="4423821"/>
            <a:ext cx="3394218" cy="2296265"/>
            <a:chOff x="8913845" y="2000639"/>
            <a:chExt cx="3394218" cy="2296265"/>
          </a:xfrm>
        </p:grpSpPr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5F029336-4070-47FC-9CE6-28FE401C5ACA}"/>
                </a:ext>
              </a:extLst>
            </p:cNvPr>
            <p:cNvSpPr txBox="1"/>
            <p:nvPr/>
          </p:nvSpPr>
          <p:spPr>
            <a:xfrm>
              <a:off x="8913845" y="2357912"/>
              <a:ext cx="3394218" cy="193899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Payment Processing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Provides the chance to develop an </a:t>
              </a: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archictecture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 that can be used across borders.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Document management can be better tracked through the use of blockchain, ensuring that everyone is accessing the same data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 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68B51B87-1C58-4CFA-A202-275A01873FA8}"/>
                </a:ext>
              </a:extLst>
            </p:cNvPr>
            <p:cNvSpPr txBox="1"/>
            <p:nvPr/>
          </p:nvSpPr>
          <p:spPr>
            <a:xfrm>
              <a:off x="8927270" y="2000639"/>
              <a:ext cx="2769808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alibri" panose="020F0502020204030204"/>
                  <a:cs typeface="Calibri" panose="020F0502020204030204" pitchFamily="34" charset="0"/>
                </a:rPr>
                <a:t>Oppertunities</a:t>
              </a: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cs typeface="Calibri" panose="020F0502020204030204" pitchFamily="34" charset="0"/>
              </a:endParaRPr>
            </a:p>
          </p:txBody>
        </p:sp>
      </p:grpSp>
      <p:sp>
        <p:nvSpPr>
          <p:cNvPr id="65" name="Freeform 25">
            <a:extLst>
              <a:ext uri="{FF2B5EF4-FFF2-40B4-BE49-F238E27FC236}">
                <a16:creationId xmlns:a16="http://schemas.microsoft.com/office/drawing/2014/main" id="{E667D962-7C46-4379-8DB7-8006F7D8420F}"/>
              </a:ext>
            </a:extLst>
          </p:cNvPr>
          <p:cNvSpPr>
            <a:spLocks/>
          </p:cNvSpPr>
          <p:nvPr/>
        </p:nvSpPr>
        <p:spPr bwMode="auto">
          <a:xfrm>
            <a:off x="3794125" y="2796820"/>
            <a:ext cx="2300288" cy="2441575"/>
          </a:xfrm>
          <a:custGeom>
            <a:avLst/>
            <a:gdLst>
              <a:gd name="T0" fmla="*/ 361 w 770"/>
              <a:gd name="T1" fmla="*/ 0 h 818"/>
              <a:gd name="T2" fmla="*/ 59 w 770"/>
              <a:gd name="T3" fmla="*/ 302 h 818"/>
              <a:gd name="T4" fmla="*/ 59 w 770"/>
              <a:gd name="T5" fmla="*/ 516 h 818"/>
              <a:gd name="T6" fmla="*/ 361 w 770"/>
              <a:gd name="T7" fmla="*/ 818 h 818"/>
              <a:gd name="T8" fmla="*/ 770 w 770"/>
              <a:gd name="T9" fmla="*/ 409 h 818"/>
              <a:gd name="T10" fmla="*/ 361 w 770"/>
              <a:gd name="T11" fmla="*/ 0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70" h="818">
                <a:moveTo>
                  <a:pt x="361" y="0"/>
                </a:moveTo>
                <a:cubicBezTo>
                  <a:pt x="59" y="302"/>
                  <a:pt x="59" y="302"/>
                  <a:pt x="59" y="302"/>
                </a:cubicBezTo>
                <a:cubicBezTo>
                  <a:pt x="0" y="361"/>
                  <a:pt x="0" y="457"/>
                  <a:pt x="59" y="516"/>
                </a:cubicBezTo>
                <a:cubicBezTo>
                  <a:pt x="361" y="818"/>
                  <a:pt x="361" y="818"/>
                  <a:pt x="361" y="818"/>
                </a:cubicBezTo>
                <a:cubicBezTo>
                  <a:pt x="770" y="409"/>
                  <a:pt x="770" y="409"/>
                  <a:pt x="770" y="409"/>
                </a:cubicBezTo>
                <a:lnTo>
                  <a:pt x="361" y="0"/>
                </a:lnTo>
                <a:close/>
              </a:path>
            </a:pathLst>
          </a:custGeom>
          <a:solidFill>
            <a:srgbClr val="59467A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6" name="Freeform 26">
            <a:extLst>
              <a:ext uri="{FF2B5EF4-FFF2-40B4-BE49-F238E27FC236}">
                <a16:creationId xmlns:a16="http://schemas.microsoft.com/office/drawing/2014/main" id="{2BA83868-C3DF-49A1-A088-DEF1A4348B1A}"/>
              </a:ext>
            </a:extLst>
          </p:cNvPr>
          <p:cNvSpPr>
            <a:spLocks/>
          </p:cNvSpPr>
          <p:nvPr/>
        </p:nvSpPr>
        <p:spPr bwMode="auto">
          <a:xfrm>
            <a:off x="4872038" y="1720495"/>
            <a:ext cx="2444750" cy="2297113"/>
          </a:xfrm>
          <a:custGeom>
            <a:avLst/>
            <a:gdLst>
              <a:gd name="T0" fmla="*/ 818 w 818"/>
              <a:gd name="T1" fmla="*/ 361 h 770"/>
              <a:gd name="T2" fmla="*/ 516 w 818"/>
              <a:gd name="T3" fmla="*/ 59 h 770"/>
              <a:gd name="T4" fmla="*/ 302 w 818"/>
              <a:gd name="T5" fmla="*/ 59 h 770"/>
              <a:gd name="T6" fmla="*/ 0 w 818"/>
              <a:gd name="T7" fmla="*/ 361 h 770"/>
              <a:gd name="T8" fmla="*/ 409 w 818"/>
              <a:gd name="T9" fmla="*/ 770 h 770"/>
              <a:gd name="T10" fmla="*/ 818 w 818"/>
              <a:gd name="T11" fmla="*/ 361 h 7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18" h="770">
                <a:moveTo>
                  <a:pt x="818" y="361"/>
                </a:moveTo>
                <a:cubicBezTo>
                  <a:pt x="516" y="59"/>
                  <a:pt x="516" y="59"/>
                  <a:pt x="516" y="59"/>
                </a:cubicBezTo>
                <a:cubicBezTo>
                  <a:pt x="457" y="0"/>
                  <a:pt x="361" y="0"/>
                  <a:pt x="302" y="59"/>
                </a:cubicBezTo>
                <a:cubicBezTo>
                  <a:pt x="0" y="361"/>
                  <a:pt x="0" y="361"/>
                  <a:pt x="0" y="361"/>
                </a:cubicBezTo>
                <a:cubicBezTo>
                  <a:pt x="409" y="770"/>
                  <a:pt x="409" y="770"/>
                  <a:pt x="409" y="770"/>
                </a:cubicBezTo>
                <a:lnTo>
                  <a:pt x="818" y="361"/>
                </a:lnTo>
                <a:close/>
              </a:path>
            </a:pathLst>
          </a:custGeom>
          <a:solidFill>
            <a:srgbClr val="59467A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7" name="Freeform 27">
            <a:extLst>
              <a:ext uri="{FF2B5EF4-FFF2-40B4-BE49-F238E27FC236}">
                <a16:creationId xmlns:a16="http://schemas.microsoft.com/office/drawing/2014/main" id="{52E6A194-BB48-479F-90CF-91B5967F50C3}"/>
              </a:ext>
            </a:extLst>
          </p:cNvPr>
          <p:cNvSpPr>
            <a:spLocks/>
          </p:cNvSpPr>
          <p:nvPr/>
        </p:nvSpPr>
        <p:spPr bwMode="auto">
          <a:xfrm>
            <a:off x="4872038" y="4017608"/>
            <a:ext cx="2444750" cy="2297113"/>
          </a:xfrm>
          <a:custGeom>
            <a:avLst/>
            <a:gdLst>
              <a:gd name="T0" fmla="*/ 0 w 818"/>
              <a:gd name="T1" fmla="*/ 409 h 770"/>
              <a:gd name="T2" fmla="*/ 302 w 818"/>
              <a:gd name="T3" fmla="*/ 711 h 770"/>
              <a:gd name="T4" fmla="*/ 516 w 818"/>
              <a:gd name="T5" fmla="*/ 711 h 770"/>
              <a:gd name="T6" fmla="*/ 818 w 818"/>
              <a:gd name="T7" fmla="*/ 409 h 770"/>
              <a:gd name="T8" fmla="*/ 409 w 818"/>
              <a:gd name="T9" fmla="*/ 0 h 770"/>
              <a:gd name="T10" fmla="*/ 0 w 818"/>
              <a:gd name="T11" fmla="*/ 409 h 7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18" h="770">
                <a:moveTo>
                  <a:pt x="0" y="409"/>
                </a:moveTo>
                <a:cubicBezTo>
                  <a:pt x="302" y="711"/>
                  <a:pt x="302" y="711"/>
                  <a:pt x="302" y="711"/>
                </a:cubicBezTo>
                <a:cubicBezTo>
                  <a:pt x="361" y="770"/>
                  <a:pt x="457" y="770"/>
                  <a:pt x="516" y="711"/>
                </a:cubicBezTo>
                <a:cubicBezTo>
                  <a:pt x="818" y="409"/>
                  <a:pt x="818" y="409"/>
                  <a:pt x="818" y="409"/>
                </a:cubicBezTo>
                <a:cubicBezTo>
                  <a:pt x="409" y="0"/>
                  <a:pt x="409" y="0"/>
                  <a:pt x="409" y="0"/>
                </a:cubicBezTo>
                <a:lnTo>
                  <a:pt x="0" y="409"/>
                </a:lnTo>
                <a:close/>
              </a:path>
            </a:pathLst>
          </a:custGeom>
          <a:solidFill>
            <a:srgbClr val="59467A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8" name="Freeform 28">
            <a:extLst>
              <a:ext uri="{FF2B5EF4-FFF2-40B4-BE49-F238E27FC236}">
                <a16:creationId xmlns:a16="http://schemas.microsoft.com/office/drawing/2014/main" id="{82DB47BC-4876-41C5-8F6E-053FA4A5AA1D}"/>
              </a:ext>
            </a:extLst>
          </p:cNvPr>
          <p:cNvSpPr>
            <a:spLocks/>
          </p:cNvSpPr>
          <p:nvPr/>
        </p:nvSpPr>
        <p:spPr bwMode="auto">
          <a:xfrm>
            <a:off x="6094413" y="2796820"/>
            <a:ext cx="2300288" cy="2441575"/>
          </a:xfrm>
          <a:custGeom>
            <a:avLst/>
            <a:gdLst>
              <a:gd name="T0" fmla="*/ 0 w 770"/>
              <a:gd name="T1" fmla="*/ 409 h 818"/>
              <a:gd name="T2" fmla="*/ 409 w 770"/>
              <a:gd name="T3" fmla="*/ 818 h 818"/>
              <a:gd name="T4" fmla="*/ 711 w 770"/>
              <a:gd name="T5" fmla="*/ 516 h 818"/>
              <a:gd name="T6" fmla="*/ 711 w 770"/>
              <a:gd name="T7" fmla="*/ 302 h 818"/>
              <a:gd name="T8" fmla="*/ 409 w 770"/>
              <a:gd name="T9" fmla="*/ 0 h 818"/>
              <a:gd name="T10" fmla="*/ 0 w 770"/>
              <a:gd name="T11" fmla="*/ 409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70" h="818">
                <a:moveTo>
                  <a:pt x="0" y="409"/>
                </a:moveTo>
                <a:cubicBezTo>
                  <a:pt x="409" y="818"/>
                  <a:pt x="409" y="818"/>
                  <a:pt x="409" y="818"/>
                </a:cubicBezTo>
                <a:cubicBezTo>
                  <a:pt x="711" y="516"/>
                  <a:pt x="711" y="516"/>
                  <a:pt x="711" y="516"/>
                </a:cubicBezTo>
                <a:cubicBezTo>
                  <a:pt x="770" y="457"/>
                  <a:pt x="770" y="361"/>
                  <a:pt x="711" y="302"/>
                </a:cubicBezTo>
                <a:cubicBezTo>
                  <a:pt x="409" y="0"/>
                  <a:pt x="409" y="0"/>
                  <a:pt x="409" y="0"/>
                </a:cubicBezTo>
                <a:lnTo>
                  <a:pt x="0" y="409"/>
                </a:lnTo>
                <a:close/>
              </a:path>
            </a:pathLst>
          </a:custGeom>
          <a:solidFill>
            <a:srgbClr val="59467A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9" name="Freeform 29">
            <a:extLst>
              <a:ext uri="{FF2B5EF4-FFF2-40B4-BE49-F238E27FC236}">
                <a16:creationId xmlns:a16="http://schemas.microsoft.com/office/drawing/2014/main" id="{BC859BFF-F207-4E37-8803-A86534226C10}"/>
              </a:ext>
            </a:extLst>
          </p:cNvPr>
          <p:cNvSpPr>
            <a:spLocks/>
          </p:cNvSpPr>
          <p:nvPr/>
        </p:nvSpPr>
        <p:spPr bwMode="auto">
          <a:xfrm>
            <a:off x="3916363" y="4539895"/>
            <a:ext cx="1754188" cy="1754188"/>
          </a:xfrm>
          <a:custGeom>
            <a:avLst/>
            <a:gdLst>
              <a:gd name="T0" fmla="*/ 587 w 587"/>
              <a:gd name="T1" fmla="*/ 288 h 588"/>
              <a:gd name="T2" fmla="*/ 587 w 587"/>
              <a:gd name="T3" fmla="*/ 44 h 588"/>
              <a:gd name="T4" fmla="*/ 544 w 587"/>
              <a:gd name="T5" fmla="*/ 0 h 588"/>
              <a:gd name="T6" fmla="*/ 299 w 587"/>
              <a:gd name="T7" fmla="*/ 0 h 588"/>
              <a:gd name="T8" fmla="*/ 1 w 587"/>
              <a:gd name="T9" fmla="*/ 295 h 588"/>
              <a:gd name="T10" fmla="*/ 292 w 587"/>
              <a:gd name="T11" fmla="*/ 587 h 588"/>
              <a:gd name="T12" fmla="*/ 587 w 587"/>
              <a:gd name="T13" fmla="*/ 288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7" h="588">
                <a:moveTo>
                  <a:pt x="587" y="288"/>
                </a:moveTo>
                <a:cubicBezTo>
                  <a:pt x="587" y="44"/>
                  <a:pt x="587" y="44"/>
                  <a:pt x="587" y="44"/>
                </a:cubicBezTo>
                <a:cubicBezTo>
                  <a:pt x="587" y="20"/>
                  <a:pt x="568" y="0"/>
                  <a:pt x="544" y="0"/>
                </a:cubicBezTo>
                <a:cubicBezTo>
                  <a:pt x="299" y="0"/>
                  <a:pt x="299" y="0"/>
                  <a:pt x="299" y="0"/>
                </a:cubicBezTo>
                <a:cubicBezTo>
                  <a:pt x="136" y="0"/>
                  <a:pt x="0" y="132"/>
                  <a:pt x="1" y="295"/>
                </a:cubicBezTo>
                <a:cubicBezTo>
                  <a:pt x="2" y="456"/>
                  <a:pt x="132" y="586"/>
                  <a:pt x="292" y="587"/>
                </a:cubicBezTo>
                <a:cubicBezTo>
                  <a:pt x="456" y="588"/>
                  <a:pt x="587" y="452"/>
                  <a:pt x="587" y="288"/>
                </a:cubicBezTo>
                <a:close/>
              </a:path>
            </a:pathLst>
          </a:custGeom>
          <a:solidFill>
            <a:srgbClr val="B16FBF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0" name="Freeform 30">
            <a:extLst>
              <a:ext uri="{FF2B5EF4-FFF2-40B4-BE49-F238E27FC236}">
                <a16:creationId xmlns:a16="http://schemas.microsoft.com/office/drawing/2014/main" id="{1F6C782C-9172-4737-82CF-4E46500ACCAE}"/>
              </a:ext>
            </a:extLst>
          </p:cNvPr>
          <p:cNvSpPr>
            <a:spLocks/>
          </p:cNvSpPr>
          <p:nvPr/>
        </p:nvSpPr>
        <p:spPr bwMode="auto">
          <a:xfrm>
            <a:off x="3916363" y="1917345"/>
            <a:ext cx="1754188" cy="1754188"/>
          </a:xfrm>
          <a:custGeom>
            <a:avLst/>
            <a:gdLst>
              <a:gd name="T0" fmla="*/ 587 w 587"/>
              <a:gd name="T1" fmla="*/ 300 h 588"/>
              <a:gd name="T2" fmla="*/ 587 w 587"/>
              <a:gd name="T3" fmla="*/ 545 h 588"/>
              <a:gd name="T4" fmla="*/ 544 w 587"/>
              <a:gd name="T5" fmla="*/ 588 h 588"/>
              <a:gd name="T6" fmla="*/ 299 w 587"/>
              <a:gd name="T7" fmla="*/ 588 h 588"/>
              <a:gd name="T8" fmla="*/ 1 w 587"/>
              <a:gd name="T9" fmla="*/ 293 h 588"/>
              <a:gd name="T10" fmla="*/ 292 w 587"/>
              <a:gd name="T11" fmla="*/ 2 h 588"/>
              <a:gd name="T12" fmla="*/ 587 w 587"/>
              <a:gd name="T13" fmla="*/ 300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7" h="588">
                <a:moveTo>
                  <a:pt x="587" y="300"/>
                </a:moveTo>
                <a:cubicBezTo>
                  <a:pt x="587" y="545"/>
                  <a:pt x="587" y="545"/>
                  <a:pt x="587" y="545"/>
                </a:cubicBezTo>
                <a:cubicBezTo>
                  <a:pt x="587" y="569"/>
                  <a:pt x="568" y="588"/>
                  <a:pt x="544" y="588"/>
                </a:cubicBezTo>
                <a:cubicBezTo>
                  <a:pt x="299" y="588"/>
                  <a:pt x="299" y="588"/>
                  <a:pt x="299" y="588"/>
                </a:cubicBezTo>
                <a:cubicBezTo>
                  <a:pt x="136" y="588"/>
                  <a:pt x="0" y="456"/>
                  <a:pt x="1" y="293"/>
                </a:cubicBezTo>
                <a:cubicBezTo>
                  <a:pt x="2" y="132"/>
                  <a:pt x="132" y="3"/>
                  <a:pt x="292" y="2"/>
                </a:cubicBezTo>
                <a:cubicBezTo>
                  <a:pt x="456" y="0"/>
                  <a:pt x="587" y="136"/>
                  <a:pt x="587" y="300"/>
                </a:cubicBezTo>
                <a:close/>
              </a:path>
            </a:pathLst>
          </a:custGeom>
          <a:solidFill>
            <a:srgbClr val="DB81A4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1" name="Freeform 31">
            <a:extLst>
              <a:ext uri="{FF2B5EF4-FFF2-40B4-BE49-F238E27FC236}">
                <a16:creationId xmlns:a16="http://schemas.microsoft.com/office/drawing/2014/main" id="{A148BE59-4B30-4396-BCD3-2FB50B460F79}"/>
              </a:ext>
            </a:extLst>
          </p:cNvPr>
          <p:cNvSpPr>
            <a:spLocks/>
          </p:cNvSpPr>
          <p:nvPr/>
        </p:nvSpPr>
        <p:spPr bwMode="auto">
          <a:xfrm>
            <a:off x="6534150" y="4539895"/>
            <a:ext cx="1755775" cy="1754188"/>
          </a:xfrm>
          <a:custGeom>
            <a:avLst/>
            <a:gdLst>
              <a:gd name="T0" fmla="*/ 0 w 588"/>
              <a:gd name="T1" fmla="*/ 288 h 588"/>
              <a:gd name="T2" fmla="*/ 0 w 588"/>
              <a:gd name="T3" fmla="*/ 44 h 588"/>
              <a:gd name="T4" fmla="*/ 44 w 588"/>
              <a:gd name="T5" fmla="*/ 0 h 588"/>
              <a:gd name="T6" fmla="*/ 289 w 588"/>
              <a:gd name="T7" fmla="*/ 0 h 588"/>
              <a:gd name="T8" fmla="*/ 587 w 588"/>
              <a:gd name="T9" fmla="*/ 295 h 588"/>
              <a:gd name="T10" fmla="*/ 296 w 588"/>
              <a:gd name="T11" fmla="*/ 587 h 588"/>
              <a:gd name="T12" fmla="*/ 0 w 588"/>
              <a:gd name="T13" fmla="*/ 288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8" h="588">
                <a:moveTo>
                  <a:pt x="0" y="288"/>
                </a:moveTo>
                <a:cubicBezTo>
                  <a:pt x="0" y="44"/>
                  <a:pt x="0" y="44"/>
                  <a:pt x="0" y="44"/>
                </a:cubicBezTo>
                <a:cubicBezTo>
                  <a:pt x="0" y="20"/>
                  <a:pt x="20" y="0"/>
                  <a:pt x="44" y="0"/>
                </a:cubicBezTo>
                <a:cubicBezTo>
                  <a:pt x="289" y="0"/>
                  <a:pt x="289" y="0"/>
                  <a:pt x="289" y="0"/>
                </a:cubicBezTo>
                <a:cubicBezTo>
                  <a:pt x="452" y="0"/>
                  <a:pt x="588" y="132"/>
                  <a:pt x="587" y="295"/>
                </a:cubicBezTo>
                <a:cubicBezTo>
                  <a:pt x="586" y="456"/>
                  <a:pt x="456" y="586"/>
                  <a:pt x="296" y="587"/>
                </a:cubicBezTo>
                <a:cubicBezTo>
                  <a:pt x="132" y="588"/>
                  <a:pt x="0" y="452"/>
                  <a:pt x="0" y="288"/>
                </a:cubicBezTo>
                <a:close/>
              </a:path>
            </a:pathLst>
          </a:custGeom>
          <a:solidFill>
            <a:srgbClr val="D07DBC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2" name="Freeform 32">
            <a:extLst>
              <a:ext uri="{FF2B5EF4-FFF2-40B4-BE49-F238E27FC236}">
                <a16:creationId xmlns:a16="http://schemas.microsoft.com/office/drawing/2014/main" id="{83C92CF0-CAAF-4654-A9BE-DFA6D5DD089C}"/>
              </a:ext>
            </a:extLst>
          </p:cNvPr>
          <p:cNvSpPr>
            <a:spLocks/>
          </p:cNvSpPr>
          <p:nvPr/>
        </p:nvSpPr>
        <p:spPr bwMode="auto">
          <a:xfrm>
            <a:off x="6534150" y="1917345"/>
            <a:ext cx="1755775" cy="1754188"/>
          </a:xfrm>
          <a:custGeom>
            <a:avLst/>
            <a:gdLst>
              <a:gd name="T0" fmla="*/ 0 w 588"/>
              <a:gd name="T1" fmla="*/ 300 h 588"/>
              <a:gd name="T2" fmla="*/ 0 w 588"/>
              <a:gd name="T3" fmla="*/ 545 h 588"/>
              <a:gd name="T4" fmla="*/ 44 w 588"/>
              <a:gd name="T5" fmla="*/ 588 h 588"/>
              <a:gd name="T6" fmla="*/ 289 w 588"/>
              <a:gd name="T7" fmla="*/ 588 h 588"/>
              <a:gd name="T8" fmla="*/ 587 w 588"/>
              <a:gd name="T9" fmla="*/ 293 h 588"/>
              <a:gd name="T10" fmla="*/ 296 w 588"/>
              <a:gd name="T11" fmla="*/ 2 h 588"/>
              <a:gd name="T12" fmla="*/ 0 w 588"/>
              <a:gd name="T13" fmla="*/ 300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8" h="588">
                <a:moveTo>
                  <a:pt x="0" y="300"/>
                </a:moveTo>
                <a:cubicBezTo>
                  <a:pt x="0" y="545"/>
                  <a:pt x="0" y="545"/>
                  <a:pt x="0" y="545"/>
                </a:cubicBezTo>
                <a:cubicBezTo>
                  <a:pt x="0" y="569"/>
                  <a:pt x="20" y="588"/>
                  <a:pt x="44" y="588"/>
                </a:cubicBezTo>
                <a:cubicBezTo>
                  <a:pt x="289" y="588"/>
                  <a:pt x="289" y="588"/>
                  <a:pt x="289" y="588"/>
                </a:cubicBezTo>
                <a:cubicBezTo>
                  <a:pt x="452" y="588"/>
                  <a:pt x="588" y="456"/>
                  <a:pt x="587" y="293"/>
                </a:cubicBezTo>
                <a:cubicBezTo>
                  <a:pt x="586" y="132"/>
                  <a:pt x="456" y="3"/>
                  <a:pt x="296" y="2"/>
                </a:cubicBezTo>
                <a:cubicBezTo>
                  <a:pt x="132" y="0"/>
                  <a:pt x="0" y="136"/>
                  <a:pt x="0" y="300"/>
                </a:cubicBezTo>
                <a:close/>
              </a:path>
            </a:pathLst>
          </a:custGeom>
          <a:solidFill>
            <a:srgbClr val="D07DBD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5495D4B-9CDB-4547-A00D-BD3D66581996}"/>
              </a:ext>
            </a:extLst>
          </p:cNvPr>
          <p:cNvGrpSpPr/>
          <p:nvPr/>
        </p:nvGrpSpPr>
        <p:grpSpPr>
          <a:xfrm>
            <a:off x="5157101" y="3090319"/>
            <a:ext cx="1877799" cy="1877799"/>
            <a:chOff x="5157101" y="2989074"/>
            <a:chExt cx="1877799" cy="1877799"/>
          </a:xfrm>
        </p:grpSpPr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DE1B4854-F20B-4220-8792-1A9C22EDF5EF}"/>
                </a:ext>
              </a:extLst>
            </p:cNvPr>
            <p:cNvSpPr/>
            <p:nvPr/>
          </p:nvSpPr>
          <p:spPr>
            <a:xfrm rot="2700000">
              <a:off x="5157101" y="2989074"/>
              <a:ext cx="1877799" cy="1877799"/>
            </a:xfrm>
            <a:prstGeom prst="roundRect">
              <a:avLst>
                <a:gd name="adj" fmla="val 8938"/>
              </a:avLst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0DC6BF57-7FEA-4CEE-A87D-1D973539FC09}"/>
                </a:ext>
              </a:extLst>
            </p:cNvPr>
            <p:cNvSpPr txBox="1"/>
            <p:nvPr/>
          </p:nvSpPr>
          <p:spPr>
            <a:xfrm>
              <a:off x="5184559" y="3697140"/>
              <a:ext cx="1822882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rPr>
                <a:t>SWOT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51588BB3-7432-4C07-89F7-B9B5F8D462C5}"/>
              </a:ext>
            </a:extLst>
          </p:cNvPr>
          <p:cNvGrpSpPr/>
          <p:nvPr/>
        </p:nvGrpSpPr>
        <p:grpSpPr>
          <a:xfrm>
            <a:off x="4453961" y="2434471"/>
            <a:ext cx="678992" cy="719936"/>
            <a:chOff x="7750176" y="3625850"/>
            <a:chExt cx="315912" cy="334963"/>
          </a:xfrm>
          <a:solidFill>
            <a:sysClr val="window" lastClr="FFFFFF"/>
          </a:solidFill>
        </p:grpSpPr>
        <p:sp>
          <p:nvSpPr>
            <p:cNvPr id="100" name="Freeform 5">
              <a:extLst>
                <a:ext uri="{FF2B5EF4-FFF2-40B4-BE49-F238E27FC236}">
                  <a16:creationId xmlns:a16="http://schemas.microsoft.com/office/drawing/2014/main" id="{40C00A2B-4D50-44FC-B120-45CC66DE9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0501" y="3687763"/>
              <a:ext cx="195263" cy="211138"/>
            </a:xfrm>
            <a:custGeom>
              <a:avLst/>
              <a:gdLst>
                <a:gd name="T0" fmla="*/ 26 w 52"/>
                <a:gd name="T1" fmla="*/ 0 h 56"/>
                <a:gd name="T2" fmla="*/ 0 w 52"/>
                <a:gd name="T3" fmla="*/ 26 h 56"/>
                <a:gd name="T4" fmla="*/ 18 w 52"/>
                <a:gd name="T5" fmla="*/ 51 h 56"/>
                <a:gd name="T6" fmla="*/ 18 w 52"/>
                <a:gd name="T7" fmla="*/ 54 h 56"/>
                <a:gd name="T8" fmla="*/ 20 w 52"/>
                <a:gd name="T9" fmla="*/ 56 h 56"/>
                <a:gd name="T10" fmla="*/ 32 w 52"/>
                <a:gd name="T11" fmla="*/ 56 h 56"/>
                <a:gd name="T12" fmla="*/ 34 w 52"/>
                <a:gd name="T13" fmla="*/ 54 h 56"/>
                <a:gd name="T14" fmla="*/ 34 w 52"/>
                <a:gd name="T15" fmla="*/ 51 h 56"/>
                <a:gd name="T16" fmla="*/ 52 w 52"/>
                <a:gd name="T17" fmla="*/ 26 h 56"/>
                <a:gd name="T18" fmla="*/ 26 w 52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6">
                  <a:moveTo>
                    <a:pt x="26" y="0"/>
                  </a:moveTo>
                  <a:cubicBezTo>
                    <a:pt x="12" y="0"/>
                    <a:pt x="0" y="12"/>
                    <a:pt x="0" y="26"/>
                  </a:cubicBezTo>
                  <a:cubicBezTo>
                    <a:pt x="0" y="37"/>
                    <a:pt x="7" y="47"/>
                    <a:pt x="18" y="51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8" y="55"/>
                    <a:pt x="19" y="56"/>
                    <a:pt x="20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4" y="55"/>
                    <a:pt x="34" y="54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45" y="47"/>
                    <a:pt x="52" y="37"/>
                    <a:pt x="52" y="26"/>
                  </a:cubicBezTo>
                  <a:cubicBezTo>
                    <a:pt x="52" y="12"/>
                    <a:pt x="40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01" name="Freeform 6">
              <a:extLst>
                <a:ext uri="{FF2B5EF4-FFF2-40B4-BE49-F238E27FC236}">
                  <a16:creationId xmlns:a16="http://schemas.microsoft.com/office/drawing/2014/main" id="{D2E116A3-7E57-4836-B6F3-DE33AC509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3051" y="3944938"/>
              <a:ext cx="30163" cy="15875"/>
            </a:xfrm>
            <a:custGeom>
              <a:avLst/>
              <a:gdLst>
                <a:gd name="T0" fmla="*/ 6 w 8"/>
                <a:gd name="T1" fmla="*/ 0 h 4"/>
                <a:gd name="T2" fmla="*/ 2 w 8"/>
                <a:gd name="T3" fmla="*/ 0 h 4"/>
                <a:gd name="T4" fmla="*/ 0 w 8"/>
                <a:gd name="T5" fmla="*/ 2 h 4"/>
                <a:gd name="T6" fmla="*/ 2 w 8"/>
                <a:gd name="T7" fmla="*/ 4 h 4"/>
                <a:gd name="T8" fmla="*/ 6 w 8"/>
                <a:gd name="T9" fmla="*/ 4 h 4"/>
                <a:gd name="T10" fmla="*/ 8 w 8"/>
                <a:gd name="T11" fmla="*/ 2 h 4"/>
                <a:gd name="T12" fmla="*/ 6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02" name="Freeform 7">
              <a:extLst>
                <a:ext uri="{FF2B5EF4-FFF2-40B4-BE49-F238E27FC236}">
                  <a16:creationId xmlns:a16="http://schemas.microsoft.com/office/drawing/2014/main" id="{249F1098-9536-4AC8-A8AE-01D8BD642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8763" y="3914775"/>
              <a:ext cx="60325" cy="14288"/>
            </a:xfrm>
            <a:custGeom>
              <a:avLst/>
              <a:gdLst>
                <a:gd name="T0" fmla="*/ 14 w 16"/>
                <a:gd name="T1" fmla="*/ 0 h 4"/>
                <a:gd name="T2" fmla="*/ 2 w 16"/>
                <a:gd name="T3" fmla="*/ 0 h 4"/>
                <a:gd name="T4" fmla="*/ 0 w 16"/>
                <a:gd name="T5" fmla="*/ 2 h 4"/>
                <a:gd name="T6" fmla="*/ 2 w 16"/>
                <a:gd name="T7" fmla="*/ 4 h 4"/>
                <a:gd name="T8" fmla="*/ 14 w 16"/>
                <a:gd name="T9" fmla="*/ 4 h 4"/>
                <a:gd name="T10" fmla="*/ 16 w 16"/>
                <a:gd name="T11" fmla="*/ 2 h 4"/>
                <a:gd name="T12" fmla="*/ 14 w 1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03" name="Freeform 8">
              <a:extLst>
                <a:ext uri="{FF2B5EF4-FFF2-40B4-BE49-F238E27FC236}">
                  <a16:creationId xmlns:a16="http://schemas.microsoft.com/office/drawing/2014/main" id="{A612F705-F84C-4A70-94F8-CC54DB2EF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0988" y="3625850"/>
              <a:ext cx="14288" cy="46038"/>
            </a:xfrm>
            <a:custGeom>
              <a:avLst/>
              <a:gdLst>
                <a:gd name="T0" fmla="*/ 2 w 4"/>
                <a:gd name="T1" fmla="*/ 12 h 12"/>
                <a:gd name="T2" fmla="*/ 4 w 4"/>
                <a:gd name="T3" fmla="*/ 10 h 12"/>
                <a:gd name="T4" fmla="*/ 4 w 4"/>
                <a:gd name="T5" fmla="*/ 2 h 12"/>
                <a:gd name="T6" fmla="*/ 2 w 4"/>
                <a:gd name="T7" fmla="*/ 0 h 12"/>
                <a:gd name="T8" fmla="*/ 0 w 4"/>
                <a:gd name="T9" fmla="*/ 2 h 12"/>
                <a:gd name="T10" fmla="*/ 0 w 4"/>
                <a:gd name="T11" fmla="*/ 10 h 12"/>
                <a:gd name="T12" fmla="*/ 2 w 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2">
                  <a:moveTo>
                    <a:pt x="2" y="12"/>
                  </a:moveTo>
                  <a:cubicBezTo>
                    <a:pt x="3" y="12"/>
                    <a:pt x="4" y="11"/>
                    <a:pt x="4" y="1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04" name="Freeform 9">
              <a:extLst>
                <a:ext uri="{FF2B5EF4-FFF2-40B4-BE49-F238E27FC236}">
                  <a16:creationId xmlns:a16="http://schemas.microsoft.com/office/drawing/2014/main" id="{F0F46EEC-7729-4D01-A407-929DB95ED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1638" y="3778250"/>
              <a:ext cx="44450" cy="14288"/>
            </a:xfrm>
            <a:custGeom>
              <a:avLst/>
              <a:gdLst>
                <a:gd name="T0" fmla="*/ 10 w 12"/>
                <a:gd name="T1" fmla="*/ 0 h 4"/>
                <a:gd name="T2" fmla="*/ 2 w 12"/>
                <a:gd name="T3" fmla="*/ 0 h 4"/>
                <a:gd name="T4" fmla="*/ 0 w 12"/>
                <a:gd name="T5" fmla="*/ 2 h 4"/>
                <a:gd name="T6" fmla="*/ 2 w 12"/>
                <a:gd name="T7" fmla="*/ 4 h 4"/>
                <a:gd name="T8" fmla="*/ 10 w 12"/>
                <a:gd name="T9" fmla="*/ 4 h 4"/>
                <a:gd name="T10" fmla="*/ 12 w 12"/>
                <a:gd name="T11" fmla="*/ 2 h 4"/>
                <a:gd name="T12" fmla="*/ 10 w 1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">
                  <a:moveTo>
                    <a:pt x="1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2" y="3"/>
                    <a:pt x="12" y="2"/>
                  </a:cubicBezTo>
                  <a:cubicBezTo>
                    <a:pt x="12" y="1"/>
                    <a:pt x="11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05" name="Freeform 10">
              <a:extLst>
                <a:ext uri="{FF2B5EF4-FFF2-40B4-BE49-F238E27FC236}">
                  <a16:creationId xmlns:a16="http://schemas.microsoft.com/office/drawing/2014/main" id="{D1DCBE29-0BFC-437C-BF77-644095A26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0176" y="3778250"/>
              <a:ext cx="46038" cy="14288"/>
            </a:xfrm>
            <a:custGeom>
              <a:avLst/>
              <a:gdLst>
                <a:gd name="T0" fmla="*/ 10 w 12"/>
                <a:gd name="T1" fmla="*/ 0 h 4"/>
                <a:gd name="T2" fmla="*/ 2 w 12"/>
                <a:gd name="T3" fmla="*/ 0 h 4"/>
                <a:gd name="T4" fmla="*/ 0 w 12"/>
                <a:gd name="T5" fmla="*/ 2 h 4"/>
                <a:gd name="T6" fmla="*/ 2 w 12"/>
                <a:gd name="T7" fmla="*/ 4 h 4"/>
                <a:gd name="T8" fmla="*/ 10 w 12"/>
                <a:gd name="T9" fmla="*/ 4 h 4"/>
                <a:gd name="T10" fmla="*/ 12 w 12"/>
                <a:gd name="T11" fmla="*/ 2 h 4"/>
                <a:gd name="T12" fmla="*/ 10 w 1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">
                  <a:moveTo>
                    <a:pt x="1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2" y="3"/>
                    <a:pt x="12" y="2"/>
                  </a:cubicBezTo>
                  <a:cubicBezTo>
                    <a:pt x="12" y="1"/>
                    <a:pt x="11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06" name="Freeform 11">
              <a:extLst>
                <a:ext uri="{FF2B5EF4-FFF2-40B4-BE49-F238E27FC236}">
                  <a16:creationId xmlns:a16="http://schemas.microsoft.com/office/drawing/2014/main" id="{4326009B-0F49-4D4D-8ED3-AA46B215F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5101" y="3660775"/>
              <a:ext cx="47625" cy="44450"/>
            </a:xfrm>
            <a:custGeom>
              <a:avLst/>
              <a:gdLst>
                <a:gd name="T0" fmla="*/ 9 w 13"/>
                <a:gd name="T1" fmla="*/ 12 h 12"/>
                <a:gd name="T2" fmla="*/ 10 w 13"/>
                <a:gd name="T3" fmla="*/ 12 h 12"/>
                <a:gd name="T4" fmla="*/ 12 w 13"/>
                <a:gd name="T5" fmla="*/ 12 h 12"/>
                <a:gd name="T6" fmla="*/ 12 w 13"/>
                <a:gd name="T7" fmla="*/ 9 h 12"/>
                <a:gd name="T8" fmla="*/ 3 w 13"/>
                <a:gd name="T9" fmla="*/ 1 h 12"/>
                <a:gd name="T10" fmla="*/ 0 w 13"/>
                <a:gd name="T11" fmla="*/ 1 h 12"/>
                <a:gd name="T12" fmla="*/ 0 w 13"/>
                <a:gd name="T13" fmla="*/ 3 h 12"/>
                <a:gd name="T14" fmla="*/ 9 w 13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2">
                  <a:moveTo>
                    <a:pt x="9" y="12"/>
                  </a:moveTo>
                  <a:cubicBezTo>
                    <a:pt x="9" y="12"/>
                    <a:pt x="10" y="12"/>
                    <a:pt x="10" y="12"/>
                  </a:cubicBezTo>
                  <a:cubicBezTo>
                    <a:pt x="11" y="12"/>
                    <a:pt x="11" y="12"/>
                    <a:pt x="12" y="12"/>
                  </a:cubicBezTo>
                  <a:cubicBezTo>
                    <a:pt x="13" y="11"/>
                    <a:pt x="13" y="10"/>
                    <a:pt x="12" y="9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0" y="1"/>
                    <a:pt x="0" y="3"/>
                    <a:pt x="0" y="3"/>
                  </a:cubicBezTo>
                  <a:lnTo>
                    <a:pt x="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07" name="Freeform 12">
              <a:extLst>
                <a:ext uri="{FF2B5EF4-FFF2-40B4-BE49-F238E27FC236}">
                  <a16:creationId xmlns:a16="http://schemas.microsoft.com/office/drawing/2014/main" id="{D3653EBD-6E37-42DB-A65C-02AD6F4B8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3538" y="3660775"/>
              <a:ext cx="49213" cy="44450"/>
            </a:xfrm>
            <a:custGeom>
              <a:avLst/>
              <a:gdLst>
                <a:gd name="T0" fmla="*/ 3 w 13"/>
                <a:gd name="T1" fmla="*/ 12 h 12"/>
                <a:gd name="T2" fmla="*/ 4 w 13"/>
                <a:gd name="T3" fmla="*/ 12 h 12"/>
                <a:gd name="T4" fmla="*/ 13 w 13"/>
                <a:gd name="T5" fmla="*/ 3 h 12"/>
                <a:gd name="T6" fmla="*/ 13 w 13"/>
                <a:gd name="T7" fmla="*/ 1 h 12"/>
                <a:gd name="T8" fmla="*/ 10 w 13"/>
                <a:gd name="T9" fmla="*/ 1 h 12"/>
                <a:gd name="T10" fmla="*/ 1 w 13"/>
                <a:gd name="T11" fmla="*/ 9 h 12"/>
                <a:gd name="T12" fmla="*/ 1 w 13"/>
                <a:gd name="T13" fmla="*/ 12 h 12"/>
                <a:gd name="T14" fmla="*/ 3 w 13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2">
                  <a:moveTo>
                    <a:pt x="3" y="12"/>
                  </a:moveTo>
                  <a:cubicBezTo>
                    <a:pt x="3" y="12"/>
                    <a:pt x="4" y="12"/>
                    <a:pt x="4" y="12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1"/>
                    <a:pt x="13" y="1"/>
                  </a:cubicBezTo>
                  <a:cubicBezTo>
                    <a:pt x="12" y="0"/>
                    <a:pt x="10" y="0"/>
                    <a:pt x="10" y="1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630243B1-54B7-4533-866F-77478F4C3C2C}"/>
              </a:ext>
            </a:extLst>
          </p:cNvPr>
          <p:cNvGrpSpPr/>
          <p:nvPr/>
        </p:nvGrpSpPr>
        <p:grpSpPr>
          <a:xfrm>
            <a:off x="7091982" y="2488484"/>
            <a:ext cx="640110" cy="611910"/>
            <a:chOff x="3397251" y="4689475"/>
            <a:chExt cx="360363" cy="344488"/>
          </a:xfrm>
          <a:solidFill>
            <a:sysClr val="window" lastClr="FFFFFF"/>
          </a:solidFill>
        </p:grpSpPr>
        <p:sp>
          <p:nvSpPr>
            <p:cNvPr id="98" name="Freeform 28">
              <a:extLst>
                <a:ext uri="{FF2B5EF4-FFF2-40B4-BE49-F238E27FC236}">
                  <a16:creationId xmlns:a16="http://schemas.microsoft.com/office/drawing/2014/main" id="{99FA4058-C813-4EDA-A069-8C42BCCDFB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251" y="4794250"/>
              <a:ext cx="360363" cy="239713"/>
            </a:xfrm>
            <a:custGeom>
              <a:avLst/>
              <a:gdLst>
                <a:gd name="T0" fmla="*/ 94 w 96"/>
                <a:gd name="T1" fmla="*/ 60 h 64"/>
                <a:gd name="T2" fmla="*/ 92 w 96"/>
                <a:gd name="T3" fmla="*/ 60 h 64"/>
                <a:gd name="T4" fmla="*/ 92 w 96"/>
                <a:gd name="T5" fmla="*/ 50 h 64"/>
                <a:gd name="T6" fmla="*/ 90 w 96"/>
                <a:gd name="T7" fmla="*/ 48 h 64"/>
                <a:gd name="T8" fmla="*/ 78 w 96"/>
                <a:gd name="T9" fmla="*/ 48 h 64"/>
                <a:gd name="T10" fmla="*/ 76 w 96"/>
                <a:gd name="T11" fmla="*/ 50 h 64"/>
                <a:gd name="T12" fmla="*/ 76 w 96"/>
                <a:gd name="T13" fmla="*/ 60 h 64"/>
                <a:gd name="T14" fmla="*/ 68 w 96"/>
                <a:gd name="T15" fmla="*/ 60 h 64"/>
                <a:gd name="T16" fmla="*/ 68 w 96"/>
                <a:gd name="T17" fmla="*/ 34 h 64"/>
                <a:gd name="T18" fmla="*/ 66 w 96"/>
                <a:gd name="T19" fmla="*/ 32 h 64"/>
                <a:gd name="T20" fmla="*/ 54 w 96"/>
                <a:gd name="T21" fmla="*/ 32 h 64"/>
                <a:gd name="T22" fmla="*/ 52 w 96"/>
                <a:gd name="T23" fmla="*/ 34 h 64"/>
                <a:gd name="T24" fmla="*/ 52 w 96"/>
                <a:gd name="T25" fmla="*/ 60 h 64"/>
                <a:gd name="T26" fmla="*/ 44 w 96"/>
                <a:gd name="T27" fmla="*/ 60 h 64"/>
                <a:gd name="T28" fmla="*/ 44 w 96"/>
                <a:gd name="T29" fmla="*/ 18 h 64"/>
                <a:gd name="T30" fmla="*/ 42 w 96"/>
                <a:gd name="T31" fmla="*/ 16 h 64"/>
                <a:gd name="T32" fmla="*/ 30 w 96"/>
                <a:gd name="T33" fmla="*/ 16 h 64"/>
                <a:gd name="T34" fmla="*/ 28 w 96"/>
                <a:gd name="T35" fmla="*/ 18 h 64"/>
                <a:gd name="T36" fmla="*/ 28 w 96"/>
                <a:gd name="T37" fmla="*/ 60 h 64"/>
                <a:gd name="T38" fmla="*/ 20 w 96"/>
                <a:gd name="T39" fmla="*/ 60 h 64"/>
                <a:gd name="T40" fmla="*/ 20 w 96"/>
                <a:gd name="T41" fmla="*/ 2 h 64"/>
                <a:gd name="T42" fmla="*/ 18 w 96"/>
                <a:gd name="T43" fmla="*/ 0 h 64"/>
                <a:gd name="T44" fmla="*/ 6 w 96"/>
                <a:gd name="T45" fmla="*/ 0 h 64"/>
                <a:gd name="T46" fmla="*/ 4 w 96"/>
                <a:gd name="T47" fmla="*/ 2 h 64"/>
                <a:gd name="T48" fmla="*/ 4 w 96"/>
                <a:gd name="T49" fmla="*/ 60 h 64"/>
                <a:gd name="T50" fmla="*/ 2 w 96"/>
                <a:gd name="T51" fmla="*/ 60 h 64"/>
                <a:gd name="T52" fmla="*/ 0 w 96"/>
                <a:gd name="T53" fmla="*/ 62 h 64"/>
                <a:gd name="T54" fmla="*/ 2 w 96"/>
                <a:gd name="T55" fmla="*/ 64 h 64"/>
                <a:gd name="T56" fmla="*/ 94 w 96"/>
                <a:gd name="T57" fmla="*/ 64 h 64"/>
                <a:gd name="T58" fmla="*/ 96 w 96"/>
                <a:gd name="T59" fmla="*/ 62 h 64"/>
                <a:gd name="T60" fmla="*/ 94 w 96"/>
                <a:gd name="T61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6" h="64">
                  <a:moveTo>
                    <a:pt x="94" y="60"/>
                  </a:moveTo>
                  <a:cubicBezTo>
                    <a:pt x="92" y="60"/>
                    <a:pt x="92" y="60"/>
                    <a:pt x="92" y="60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49"/>
                    <a:pt x="91" y="48"/>
                    <a:pt x="90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7" y="48"/>
                    <a:pt x="76" y="49"/>
                    <a:pt x="76" y="5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34"/>
                    <a:pt x="68" y="34"/>
                    <a:pt x="68" y="34"/>
                  </a:cubicBezTo>
                  <a:cubicBezTo>
                    <a:pt x="68" y="33"/>
                    <a:pt x="67" y="32"/>
                    <a:pt x="66" y="3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3" y="32"/>
                    <a:pt x="52" y="33"/>
                    <a:pt x="52" y="34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7"/>
                    <a:pt x="43" y="16"/>
                    <a:pt x="42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29" y="16"/>
                    <a:pt x="28" y="17"/>
                    <a:pt x="28" y="18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19" y="0"/>
                    <a:pt x="1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4" y="1"/>
                    <a:pt x="4" y="2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61"/>
                    <a:pt x="0" y="62"/>
                  </a:cubicBez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61"/>
                    <a:pt x="95" y="60"/>
                    <a:pt x="94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87FCE9DB-1AB0-47F7-8D60-9699A9AF3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351" y="4689475"/>
              <a:ext cx="285750" cy="201613"/>
            </a:xfrm>
            <a:custGeom>
              <a:avLst/>
              <a:gdLst>
                <a:gd name="T0" fmla="*/ 68 w 76"/>
                <a:gd name="T1" fmla="*/ 49 h 54"/>
                <a:gd name="T2" fmla="*/ 58 w 76"/>
                <a:gd name="T3" fmla="*/ 50 h 54"/>
                <a:gd name="T4" fmla="*/ 56 w 76"/>
                <a:gd name="T5" fmla="*/ 52 h 54"/>
                <a:gd name="T6" fmla="*/ 58 w 76"/>
                <a:gd name="T7" fmla="*/ 54 h 54"/>
                <a:gd name="T8" fmla="*/ 58 w 76"/>
                <a:gd name="T9" fmla="*/ 54 h 54"/>
                <a:gd name="T10" fmla="*/ 74 w 76"/>
                <a:gd name="T11" fmla="*/ 52 h 54"/>
                <a:gd name="T12" fmla="*/ 74 w 76"/>
                <a:gd name="T13" fmla="*/ 52 h 54"/>
                <a:gd name="T14" fmla="*/ 76 w 76"/>
                <a:gd name="T15" fmla="*/ 50 h 54"/>
                <a:gd name="T16" fmla="*/ 74 w 76"/>
                <a:gd name="T17" fmla="*/ 34 h 54"/>
                <a:gd name="T18" fmla="*/ 72 w 76"/>
                <a:gd name="T19" fmla="*/ 32 h 54"/>
                <a:gd name="T20" fmla="*/ 70 w 76"/>
                <a:gd name="T21" fmla="*/ 34 h 54"/>
                <a:gd name="T22" fmla="*/ 71 w 76"/>
                <a:gd name="T23" fmla="*/ 46 h 54"/>
                <a:gd name="T24" fmla="*/ 3 w 76"/>
                <a:gd name="T25" fmla="*/ 0 h 54"/>
                <a:gd name="T26" fmla="*/ 0 w 76"/>
                <a:gd name="T27" fmla="*/ 1 h 54"/>
                <a:gd name="T28" fmla="*/ 1 w 76"/>
                <a:gd name="T29" fmla="*/ 4 h 54"/>
                <a:gd name="T30" fmla="*/ 68 w 76"/>
                <a:gd name="T31" fmla="*/ 4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6" h="54">
                  <a:moveTo>
                    <a:pt x="68" y="49"/>
                  </a:moveTo>
                  <a:cubicBezTo>
                    <a:pt x="58" y="50"/>
                    <a:pt x="58" y="50"/>
                    <a:pt x="58" y="50"/>
                  </a:cubicBezTo>
                  <a:cubicBezTo>
                    <a:pt x="57" y="50"/>
                    <a:pt x="56" y="51"/>
                    <a:pt x="56" y="52"/>
                  </a:cubicBezTo>
                  <a:cubicBezTo>
                    <a:pt x="56" y="53"/>
                    <a:pt x="57" y="54"/>
                    <a:pt x="58" y="54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5" y="52"/>
                    <a:pt x="76" y="51"/>
                    <a:pt x="76" y="50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3"/>
                    <a:pt x="73" y="32"/>
                    <a:pt x="72" y="32"/>
                  </a:cubicBezTo>
                  <a:cubicBezTo>
                    <a:pt x="71" y="32"/>
                    <a:pt x="70" y="33"/>
                    <a:pt x="70" y="34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3"/>
                    <a:pt x="1" y="4"/>
                  </a:cubicBezTo>
                  <a:lnTo>
                    <a:pt x="6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sp>
        <p:nvSpPr>
          <p:cNvPr id="76" name="Freeform 104">
            <a:extLst>
              <a:ext uri="{FF2B5EF4-FFF2-40B4-BE49-F238E27FC236}">
                <a16:creationId xmlns:a16="http://schemas.microsoft.com/office/drawing/2014/main" id="{4C1150FD-C2A1-420B-93D0-31E58FDE2FF0}"/>
              </a:ext>
            </a:extLst>
          </p:cNvPr>
          <p:cNvSpPr>
            <a:spLocks noEditPoints="1"/>
          </p:cNvSpPr>
          <p:nvPr/>
        </p:nvSpPr>
        <p:spPr bwMode="auto">
          <a:xfrm>
            <a:off x="4473402" y="5095525"/>
            <a:ext cx="640110" cy="642928"/>
          </a:xfrm>
          <a:custGeom>
            <a:avLst/>
            <a:gdLst>
              <a:gd name="T0" fmla="*/ 36 w 96"/>
              <a:gd name="T1" fmla="*/ 72 h 96"/>
              <a:gd name="T2" fmla="*/ 59 w 96"/>
              <a:gd name="T3" fmla="*/ 64 h 96"/>
              <a:gd name="T4" fmla="*/ 89 w 96"/>
              <a:gd name="T5" fmla="*/ 95 h 96"/>
              <a:gd name="T6" fmla="*/ 95 w 96"/>
              <a:gd name="T7" fmla="*/ 95 h 96"/>
              <a:gd name="T8" fmla="*/ 95 w 96"/>
              <a:gd name="T9" fmla="*/ 89 h 96"/>
              <a:gd name="T10" fmla="*/ 64 w 96"/>
              <a:gd name="T11" fmla="*/ 58 h 96"/>
              <a:gd name="T12" fmla="*/ 72 w 96"/>
              <a:gd name="T13" fmla="*/ 36 h 96"/>
              <a:gd name="T14" fmla="*/ 36 w 96"/>
              <a:gd name="T15" fmla="*/ 0 h 96"/>
              <a:gd name="T16" fmla="*/ 0 w 96"/>
              <a:gd name="T17" fmla="*/ 36 h 96"/>
              <a:gd name="T18" fmla="*/ 36 w 96"/>
              <a:gd name="T19" fmla="*/ 72 h 96"/>
              <a:gd name="T20" fmla="*/ 36 w 96"/>
              <a:gd name="T21" fmla="*/ 8 h 96"/>
              <a:gd name="T22" fmla="*/ 64 w 96"/>
              <a:gd name="T23" fmla="*/ 36 h 96"/>
              <a:gd name="T24" fmla="*/ 36 w 96"/>
              <a:gd name="T25" fmla="*/ 64 h 96"/>
              <a:gd name="T26" fmla="*/ 8 w 96"/>
              <a:gd name="T27" fmla="*/ 36 h 96"/>
              <a:gd name="T28" fmla="*/ 36 w 96"/>
              <a:gd name="T29" fmla="*/ 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6" h="96">
                <a:moveTo>
                  <a:pt x="36" y="72"/>
                </a:moveTo>
                <a:cubicBezTo>
                  <a:pt x="45" y="72"/>
                  <a:pt x="52" y="69"/>
                  <a:pt x="59" y="64"/>
                </a:cubicBezTo>
                <a:cubicBezTo>
                  <a:pt x="89" y="95"/>
                  <a:pt x="89" y="95"/>
                  <a:pt x="89" y="95"/>
                </a:cubicBezTo>
                <a:cubicBezTo>
                  <a:pt x="91" y="96"/>
                  <a:pt x="93" y="96"/>
                  <a:pt x="95" y="95"/>
                </a:cubicBezTo>
                <a:cubicBezTo>
                  <a:pt x="96" y="93"/>
                  <a:pt x="96" y="91"/>
                  <a:pt x="95" y="89"/>
                </a:cubicBezTo>
                <a:cubicBezTo>
                  <a:pt x="64" y="58"/>
                  <a:pt x="64" y="58"/>
                  <a:pt x="64" y="58"/>
                </a:cubicBezTo>
                <a:cubicBezTo>
                  <a:pt x="69" y="52"/>
                  <a:pt x="72" y="44"/>
                  <a:pt x="72" y="36"/>
                </a:cubicBezTo>
                <a:cubicBezTo>
                  <a:pt x="72" y="16"/>
                  <a:pt x="56" y="0"/>
                  <a:pt x="36" y="0"/>
                </a:cubicBezTo>
                <a:cubicBezTo>
                  <a:pt x="16" y="0"/>
                  <a:pt x="0" y="16"/>
                  <a:pt x="0" y="36"/>
                </a:cubicBezTo>
                <a:cubicBezTo>
                  <a:pt x="0" y="56"/>
                  <a:pt x="16" y="72"/>
                  <a:pt x="36" y="72"/>
                </a:cubicBezTo>
                <a:close/>
                <a:moveTo>
                  <a:pt x="36" y="8"/>
                </a:moveTo>
                <a:cubicBezTo>
                  <a:pt x="51" y="8"/>
                  <a:pt x="64" y="21"/>
                  <a:pt x="64" y="36"/>
                </a:cubicBezTo>
                <a:cubicBezTo>
                  <a:pt x="64" y="51"/>
                  <a:pt x="51" y="64"/>
                  <a:pt x="36" y="64"/>
                </a:cubicBezTo>
                <a:cubicBezTo>
                  <a:pt x="21" y="64"/>
                  <a:pt x="8" y="51"/>
                  <a:pt x="8" y="36"/>
                </a:cubicBezTo>
                <a:cubicBezTo>
                  <a:pt x="8" y="21"/>
                  <a:pt x="21" y="8"/>
                  <a:pt x="36" y="8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0607F384-8DBD-41E0-8910-4681072230EC}"/>
              </a:ext>
            </a:extLst>
          </p:cNvPr>
          <p:cNvGrpSpPr/>
          <p:nvPr/>
        </p:nvGrpSpPr>
        <p:grpSpPr>
          <a:xfrm>
            <a:off x="7050582" y="5149104"/>
            <a:ext cx="722910" cy="535770"/>
            <a:chOff x="785812" y="3851275"/>
            <a:chExt cx="447675" cy="331788"/>
          </a:xfrm>
          <a:solidFill>
            <a:sysClr val="window" lastClr="FFFFFF"/>
          </a:solidFill>
        </p:grpSpPr>
        <p:sp>
          <p:nvSpPr>
            <p:cNvPr id="95" name="Freeform 5">
              <a:extLst>
                <a:ext uri="{FF2B5EF4-FFF2-40B4-BE49-F238E27FC236}">
                  <a16:creationId xmlns:a16="http://schemas.microsoft.com/office/drawing/2014/main" id="{4E8D2389-E64F-4395-9873-6BB972F65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862" y="3851275"/>
              <a:ext cx="301625" cy="192088"/>
            </a:xfrm>
            <a:custGeom>
              <a:avLst/>
              <a:gdLst>
                <a:gd name="T0" fmla="*/ 1332 w 1332"/>
                <a:gd name="T1" fmla="*/ 192 h 851"/>
                <a:gd name="T2" fmla="*/ 1332 w 1332"/>
                <a:gd name="T3" fmla="*/ 792 h 851"/>
                <a:gd name="T4" fmla="*/ 1178 w 1332"/>
                <a:gd name="T5" fmla="*/ 821 h 851"/>
                <a:gd name="T6" fmla="*/ 1008 w 1332"/>
                <a:gd name="T7" fmla="*/ 793 h 851"/>
                <a:gd name="T8" fmla="*/ 586 w 1332"/>
                <a:gd name="T9" fmla="*/ 377 h 851"/>
                <a:gd name="T10" fmla="*/ 439 w 1332"/>
                <a:gd name="T11" fmla="*/ 369 h 851"/>
                <a:gd name="T12" fmla="*/ 179 w 1332"/>
                <a:gd name="T13" fmla="*/ 503 h 851"/>
                <a:gd name="T14" fmla="*/ 0 w 1332"/>
                <a:gd name="T15" fmla="*/ 410 h 851"/>
                <a:gd name="T16" fmla="*/ 74 w 1332"/>
                <a:gd name="T17" fmla="*/ 303 h 851"/>
                <a:gd name="T18" fmla="*/ 545 w 1332"/>
                <a:gd name="T19" fmla="*/ 37 h 851"/>
                <a:gd name="T20" fmla="*/ 740 w 1332"/>
                <a:gd name="T21" fmla="*/ 73 h 851"/>
                <a:gd name="T22" fmla="*/ 941 w 1332"/>
                <a:gd name="T23" fmla="*/ 245 h 851"/>
                <a:gd name="T24" fmla="*/ 1021 w 1332"/>
                <a:gd name="T25" fmla="*/ 260 h 851"/>
                <a:gd name="T26" fmla="*/ 1332 w 1332"/>
                <a:gd name="T27" fmla="*/ 192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32" h="851">
                  <a:moveTo>
                    <a:pt x="1332" y="192"/>
                  </a:moveTo>
                  <a:cubicBezTo>
                    <a:pt x="1332" y="792"/>
                    <a:pt x="1332" y="792"/>
                    <a:pt x="1332" y="792"/>
                  </a:cubicBezTo>
                  <a:cubicBezTo>
                    <a:pt x="1332" y="792"/>
                    <a:pt x="1204" y="817"/>
                    <a:pt x="1178" y="821"/>
                  </a:cubicBezTo>
                  <a:cubicBezTo>
                    <a:pt x="1151" y="824"/>
                    <a:pt x="1068" y="851"/>
                    <a:pt x="1008" y="793"/>
                  </a:cubicBezTo>
                  <a:cubicBezTo>
                    <a:pt x="916" y="704"/>
                    <a:pt x="586" y="377"/>
                    <a:pt x="586" y="377"/>
                  </a:cubicBezTo>
                  <a:cubicBezTo>
                    <a:pt x="586" y="377"/>
                    <a:pt x="530" y="321"/>
                    <a:pt x="439" y="369"/>
                  </a:cubicBezTo>
                  <a:cubicBezTo>
                    <a:pt x="355" y="413"/>
                    <a:pt x="231" y="478"/>
                    <a:pt x="179" y="503"/>
                  </a:cubicBezTo>
                  <a:cubicBezTo>
                    <a:pt x="81" y="555"/>
                    <a:pt x="0" y="473"/>
                    <a:pt x="0" y="410"/>
                  </a:cubicBezTo>
                  <a:cubicBezTo>
                    <a:pt x="0" y="361"/>
                    <a:pt x="31" y="328"/>
                    <a:pt x="74" y="303"/>
                  </a:cubicBezTo>
                  <a:cubicBezTo>
                    <a:pt x="192" y="232"/>
                    <a:pt x="441" y="92"/>
                    <a:pt x="545" y="37"/>
                  </a:cubicBezTo>
                  <a:cubicBezTo>
                    <a:pt x="608" y="3"/>
                    <a:pt x="653" y="0"/>
                    <a:pt x="740" y="73"/>
                  </a:cubicBezTo>
                  <a:cubicBezTo>
                    <a:pt x="846" y="163"/>
                    <a:pt x="941" y="245"/>
                    <a:pt x="941" y="245"/>
                  </a:cubicBezTo>
                  <a:cubicBezTo>
                    <a:pt x="941" y="245"/>
                    <a:pt x="972" y="270"/>
                    <a:pt x="1021" y="260"/>
                  </a:cubicBezTo>
                  <a:cubicBezTo>
                    <a:pt x="1143" y="234"/>
                    <a:pt x="1332" y="192"/>
                    <a:pt x="1332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96" name="Freeform 6">
              <a:extLst>
                <a:ext uri="{FF2B5EF4-FFF2-40B4-BE49-F238E27FC236}">
                  <a16:creationId xmlns:a16="http://schemas.microsoft.com/office/drawing/2014/main" id="{14F67B66-2E1F-4556-8A1A-64F2D0FA1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49" y="4027488"/>
              <a:ext cx="153988" cy="155575"/>
            </a:xfrm>
            <a:custGeom>
              <a:avLst/>
              <a:gdLst>
                <a:gd name="T0" fmla="*/ 524 w 683"/>
                <a:gd name="T1" fmla="*/ 430 h 690"/>
                <a:gd name="T2" fmla="*/ 504 w 683"/>
                <a:gd name="T3" fmla="*/ 312 h 690"/>
                <a:gd name="T4" fmla="*/ 399 w 683"/>
                <a:gd name="T5" fmla="*/ 285 h 690"/>
                <a:gd name="T6" fmla="*/ 376 w 683"/>
                <a:gd name="T7" fmla="*/ 178 h 690"/>
                <a:gd name="T8" fmla="*/ 270 w 683"/>
                <a:gd name="T9" fmla="*/ 151 h 690"/>
                <a:gd name="T10" fmla="*/ 247 w 683"/>
                <a:gd name="T11" fmla="*/ 45 h 690"/>
                <a:gd name="T12" fmla="*/ 80 w 683"/>
                <a:gd name="T13" fmla="*/ 49 h 690"/>
                <a:gd name="T14" fmla="*/ 43 w 683"/>
                <a:gd name="T15" fmla="*/ 231 h 690"/>
                <a:gd name="T16" fmla="*/ 175 w 683"/>
                <a:gd name="T17" fmla="*/ 242 h 690"/>
                <a:gd name="T18" fmla="*/ 172 w 683"/>
                <a:gd name="T19" fmla="*/ 364 h 690"/>
                <a:gd name="T20" fmla="*/ 304 w 683"/>
                <a:gd name="T21" fmla="*/ 375 h 690"/>
                <a:gd name="T22" fmla="*/ 300 w 683"/>
                <a:gd name="T23" fmla="*/ 498 h 690"/>
                <a:gd name="T24" fmla="*/ 442 w 683"/>
                <a:gd name="T25" fmla="*/ 506 h 690"/>
                <a:gd name="T26" fmla="*/ 435 w 683"/>
                <a:gd name="T27" fmla="*/ 641 h 690"/>
                <a:gd name="T28" fmla="*/ 629 w 683"/>
                <a:gd name="T29" fmla="*/ 620 h 690"/>
                <a:gd name="T30" fmla="*/ 640 w 683"/>
                <a:gd name="T31" fmla="*/ 455 h 690"/>
                <a:gd name="T32" fmla="*/ 524 w 683"/>
                <a:gd name="T33" fmla="*/ 430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83" h="690">
                  <a:moveTo>
                    <a:pt x="524" y="430"/>
                  </a:moveTo>
                  <a:cubicBezTo>
                    <a:pt x="540" y="389"/>
                    <a:pt x="535" y="343"/>
                    <a:pt x="504" y="312"/>
                  </a:cubicBezTo>
                  <a:cubicBezTo>
                    <a:pt x="477" y="283"/>
                    <a:pt x="437" y="276"/>
                    <a:pt x="399" y="285"/>
                  </a:cubicBezTo>
                  <a:cubicBezTo>
                    <a:pt x="409" y="247"/>
                    <a:pt x="403" y="207"/>
                    <a:pt x="376" y="178"/>
                  </a:cubicBezTo>
                  <a:cubicBezTo>
                    <a:pt x="348" y="150"/>
                    <a:pt x="308" y="142"/>
                    <a:pt x="270" y="151"/>
                  </a:cubicBezTo>
                  <a:cubicBezTo>
                    <a:pt x="281" y="113"/>
                    <a:pt x="275" y="73"/>
                    <a:pt x="247" y="45"/>
                  </a:cubicBezTo>
                  <a:cubicBezTo>
                    <a:pt x="204" y="0"/>
                    <a:pt x="129" y="2"/>
                    <a:pt x="80" y="49"/>
                  </a:cubicBezTo>
                  <a:cubicBezTo>
                    <a:pt x="31" y="96"/>
                    <a:pt x="0" y="181"/>
                    <a:pt x="43" y="231"/>
                  </a:cubicBezTo>
                  <a:cubicBezTo>
                    <a:pt x="87" y="281"/>
                    <a:pt x="137" y="250"/>
                    <a:pt x="175" y="242"/>
                  </a:cubicBezTo>
                  <a:cubicBezTo>
                    <a:pt x="165" y="280"/>
                    <a:pt x="133" y="315"/>
                    <a:pt x="172" y="364"/>
                  </a:cubicBezTo>
                  <a:cubicBezTo>
                    <a:pt x="211" y="414"/>
                    <a:pt x="266" y="384"/>
                    <a:pt x="304" y="375"/>
                  </a:cubicBezTo>
                  <a:cubicBezTo>
                    <a:pt x="293" y="413"/>
                    <a:pt x="263" y="452"/>
                    <a:pt x="300" y="498"/>
                  </a:cubicBezTo>
                  <a:cubicBezTo>
                    <a:pt x="338" y="544"/>
                    <a:pt x="401" y="519"/>
                    <a:pt x="442" y="506"/>
                  </a:cubicBezTo>
                  <a:cubicBezTo>
                    <a:pt x="426" y="547"/>
                    <a:pt x="392" y="591"/>
                    <a:pt x="435" y="641"/>
                  </a:cubicBezTo>
                  <a:cubicBezTo>
                    <a:pt x="479" y="690"/>
                    <a:pt x="580" y="667"/>
                    <a:pt x="629" y="620"/>
                  </a:cubicBezTo>
                  <a:cubicBezTo>
                    <a:pt x="678" y="573"/>
                    <a:pt x="683" y="499"/>
                    <a:pt x="640" y="455"/>
                  </a:cubicBezTo>
                  <a:cubicBezTo>
                    <a:pt x="610" y="424"/>
                    <a:pt x="565" y="417"/>
                    <a:pt x="524" y="4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97" name="Freeform 7">
              <a:extLst>
                <a:ext uri="{FF2B5EF4-FFF2-40B4-BE49-F238E27FC236}">
                  <a16:creationId xmlns:a16="http://schemas.microsoft.com/office/drawing/2014/main" id="{583AD1BC-DBE4-442E-862C-6D2E1D5325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812" y="3856038"/>
              <a:ext cx="361950" cy="317500"/>
            </a:xfrm>
            <a:custGeom>
              <a:avLst/>
              <a:gdLst>
                <a:gd name="T0" fmla="*/ 1570 w 1605"/>
                <a:gd name="T1" fmla="*/ 873 h 1402"/>
                <a:gd name="T2" fmla="*/ 1190 w 1605"/>
                <a:gd name="T3" fmla="*/ 494 h 1402"/>
                <a:gd name="T4" fmla="*/ 1057 w 1605"/>
                <a:gd name="T5" fmla="*/ 470 h 1402"/>
                <a:gd name="T6" fmla="*/ 884 w 1605"/>
                <a:gd name="T7" fmla="*/ 549 h 1402"/>
                <a:gd name="T8" fmla="*/ 767 w 1605"/>
                <a:gd name="T9" fmla="*/ 588 h 1402"/>
                <a:gd name="T10" fmla="*/ 569 w 1605"/>
                <a:gd name="T11" fmla="*/ 390 h 1402"/>
                <a:gd name="T12" fmla="*/ 663 w 1605"/>
                <a:gd name="T13" fmla="*/ 222 h 1402"/>
                <a:gd name="T14" fmla="*/ 923 w 1605"/>
                <a:gd name="T15" fmla="*/ 70 h 1402"/>
                <a:gd name="T16" fmla="*/ 747 w 1605"/>
                <a:gd name="T17" fmla="*/ 0 h 1402"/>
                <a:gd name="T18" fmla="*/ 372 w 1605"/>
                <a:gd name="T19" fmla="*/ 166 h 1402"/>
                <a:gd name="T20" fmla="*/ 198 w 1605"/>
                <a:gd name="T21" fmla="*/ 171 h 1402"/>
                <a:gd name="T22" fmla="*/ 0 w 1605"/>
                <a:gd name="T23" fmla="*/ 102 h 1402"/>
                <a:gd name="T24" fmla="*/ 0 w 1605"/>
                <a:gd name="T25" fmla="*/ 789 h 1402"/>
                <a:gd name="T26" fmla="*/ 107 w 1605"/>
                <a:gd name="T27" fmla="*/ 826 h 1402"/>
                <a:gd name="T28" fmla="*/ 163 w 1605"/>
                <a:gd name="T29" fmla="*/ 738 h 1402"/>
                <a:gd name="T30" fmla="*/ 463 w 1605"/>
                <a:gd name="T31" fmla="*/ 736 h 1402"/>
                <a:gd name="T32" fmla="*/ 510 w 1605"/>
                <a:gd name="T33" fmla="*/ 820 h 1402"/>
                <a:gd name="T34" fmla="*/ 591 w 1605"/>
                <a:gd name="T35" fmla="*/ 869 h 1402"/>
                <a:gd name="T36" fmla="*/ 639 w 1605"/>
                <a:gd name="T37" fmla="*/ 953 h 1402"/>
                <a:gd name="T38" fmla="*/ 720 w 1605"/>
                <a:gd name="T39" fmla="*/ 1003 h 1402"/>
                <a:gd name="T40" fmla="*/ 770 w 1605"/>
                <a:gd name="T41" fmla="*/ 1095 h 1402"/>
                <a:gd name="T42" fmla="*/ 855 w 1605"/>
                <a:gd name="T43" fmla="*/ 1146 h 1402"/>
                <a:gd name="T44" fmla="*/ 907 w 1605"/>
                <a:gd name="T45" fmla="*/ 1319 h 1402"/>
                <a:gd name="T46" fmla="*/ 907 w 1605"/>
                <a:gd name="T47" fmla="*/ 1319 h 1402"/>
                <a:gd name="T48" fmla="*/ 953 w 1605"/>
                <a:gd name="T49" fmla="*/ 1368 h 1402"/>
                <a:gd name="T50" fmla="*/ 1076 w 1605"/>
                <a:gd name="T51" fmla="*/ 1368 h 1402"/>
                <a:gd name="T52" fmla="*/ 1076 w 1605"/>
                <a:gd name="T53" fmla="*/ 1245 h 1402"/>
                <a:gd name="T54" fmla="*/ 964 w 1605"/>
                <a:gd name="T55" fmla="*/ 1107 h 1402"/>
                <a:gd name="T56" fmla="*/ 1131 w 1605"/>
                <a:gd name="T57" fmla="*/ 1261 h 1402"/>
                <a:gd name="T58" fmla="*/ 1254 w 1605"/>
                <a:gd name="T59" fmla="*/ 1261 h 1402"/>
                <a:gd name="T60" fmla="*/ 1254 w 1605"/>
                <a:gd name="T61" fmla="*/ 1138 h 1402"/>
                <a:gd name="T62" fmla="*/ 1243 w 1605"/>
                <a:gd name="T63" fmla="*/ 1127 h 1402"/>
                <a:gd name="T64" fmla="*/ 1101 w 1605"/>
                <a:gd name="T65" fmla="*/ 979 h 1402"/>
                <a:gd name="T66" fmla="*/ 1303 w 1605"/>
                <a:gd name="T67" fmla="*/ 1145 h 1402"/>
                <a:gd name="T68" fmla="*/ 1423 w 1605"/>
                <a:gd name="T69" fmla="*/ 1142 h 1402"/>
                <a:gd name="T70" fmla="*/ 1427 w 1605"/>
                <a:gd name="T71" fmla="*/ 1026 h 1402"/>
                <a:gd name="T72" fmla="*/ 1294 w 1605"/>
                <a:gd name="T73" fmla="*/ 862 h 1402"/>
                <a:gd name="T74" fmla="*/ 1448 w 1605"/>
                <a:gd name="T75" fmla="*/ 998 h 1402"/>
                <a:gd name="T76" fmla="*/ 1571 w 1605"/>
                <a:gd name="T77" fmla="*/ 998 h 1402"/>
                <a:gd name="T78" fmla="*/ 1571 w 1605"/>
                <a:gd name="T79" fmla="*/ 874 h 1402"/>
                <a:gd name="T80" fmla="*/ 1570 w 1605"/>
                <a:gd name="T81" fmla="*/ 873 h 1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5" h="1402">
                  <a:moveTo>
                    <a:pt x="1570" y="873"/>
                  </a:moveTo>
                  <a:cubicBezTo>
                    <a:pt x="1214" y="518"/>
                    <a:pt x="1381" y="685"/>
                    <a:pt x="1190" y="494"/>
                  </a:cubicBezTo>
                  <a:cubicBezTo>
                    <a:pt x="1190" y="494"/>
                    <a:pt x="1133" y="436"/>
                    <a:pt x="1057" y="470"/>
                  </a:cubicBezTo>
                  <a:cubicBezTo>
                    <a:pt x="1004" y="493"/>
                    <a:pt x="935" y="525"/>
                    <a:pt x="884" y="549"/>
                  </a:cubicBezTo>
                  <a:cubicBezTo>
                    <a:pt x="827" y="579"/>
                    <a:pt x="786" y="588"/>
                    <a:pt x="767" y="588"/>
                  </a:cubicBezTo>
                  <a:cubicBezTo>
                    <a:pt x="658" y="587"/>
                    <a:pt x="569" y="499"/>
                    <a:pt x="569" y="390"/>
                  </a:cubicBezTo>
                  <a:cubicBezTo>
                    <a:pt x="569" y="319"/>
                    <a:pt x="606" y="257"/>
                    <a:pt x="663" y="222"/>
                  </a:cubicBezTo>
                  <a:cubicBezTo>
                    <a:pt x="742" y="167"/>
                    <a:pt x="923" y="70"/>
                    <a:pt x="923" y="70"/>
                  </a:cubicBezTo>
                  <a:cubicBezTo>
                    <a:pt x="923" y="70"/>
                    <a:pt x="868" y="0"/>
                    <a:pt x="747" y="0"/>
                  </a:cubicBezTo>
                  <a:cubicBezTo>
                    <a:pt x="625" y="0"/>
                    <a:pt x="372" y="166"/>
                    <a:pt x="372" y="166"/>
                  </a:cubicBezTo>
                  <a:cubicBezTo>
                    <a:pt x="372" y="166"/>
                    <a:pt x="300" y="212"/>
                    <a:pt x="198" y="171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789"/>
                    <a:pt x="0" y="789"/>
                    <a:pt x="0" y="789"/>
                  </a:cubicBezTo>
                  <a:cubicBezTo>
                    <a:pt x="0" y="789"/>
                    <a:pt x="56" y="805"/>
                    <a:pt x="107" y="826"/>
                  </a:cubicBezTo>
                  <a:cubicBezTo>
                    <a:pt x="119" y="793"/>
                    <a:pt x="137" y="763"/>
                    <a:pt x="163" y="738"/>
                  </a:cubicBezTo>
                  <a:cubicBezTo>
                    <a:pt x="247" y="658"/>
                    <a:pt x="386" y="657"/>
                    <a:pt x="463" y="736"/>
                  </a:cubicBezTo>
                  <a:cubicBezTo>
                    <a:pt x="486" y="760"/>
                    <a:pt x="502" y="788"/>
                    <a:pt x="510" y="820"/>
                  </a:cubicBezTo>
                  <a:cubicBezTo>
                    <a:pt x="541" y="830"/>
                    <a:pt x="569" y="846"/>
                    <a:pt x="591" y="869"/>
                  </a:cubicBezTo>
                  <a:cubicBezTo>
                    <a:pt x="614" y="893"/>
                    <a:pt x="630" y="922"/>
                    <a:pt x="639" y="953"/>
                  </a:cubicBezTo>
                  <a:cubicBezTo>
                    <a:pt x="669" y="963"/>
                    <a:pt x="697" y="980"/>
                    <a:pt x="720" y="1003"/>
                  </a:cubicBezTo>
                  <a:cubicBezTo>
                    <a:pt x="745" y="1029"/>
                    <a:pt x="762" y="1061"/>
                    <a:pt x="770" y="1095"/>
                  </a:cubicBezTo>
                  <a:cubicBezTo>
                    <a:pt x="802" y="1104"/>
                    <a:pt x="831" y="1122"/>
                    <a:pt x="855" y="1146"/>
                  </a:cubicBezTo>
                  <a:cubicBezTo>
                    <a:pt x="901" y="1193"/>
                    <a:pt x="917" y="1257"/>
                    <a:pt x="907" y="1319"/>
                  </a:cubicBezTo>
                  <a:cubicBezTo>
                    <a:pt x="907" y="1319"/>
                    <a:pt x="907" y="1319"/>
                    <a:pt x="907" y="1319"/>
                  </a:cubicBezTo>
                  <a:cubicBezTo>
                    <a:pt x="908" y="1320"/>
                    <a:pt x="936" y="1351"/>
                    <a:pt x="953" y="1368"/>
                  </a:cubicBezTo>
                  <a:cubicBezTo>
                    <a:pt x="987" y="1402"/>
                    <a:pt x="1042" y="1402"/>
                    <a:pt x="1076" y="1368"/>
                  </a:cubicBezTo>
                  <a:cubicBezTo>
                    <a:pt x="1110" y="1334"/>
                    <a:pt x="1110" y="1279"/>
                    <a:pt x="1076" y="1245"/>
                  </a:cubicBezTo>
                  <a:cubicBezTo>
                    <a:pt x="1075" y="1244"/>
                    <a:pt x="954" y="1117"/>
                    <a:pt x="964" y="1107"/>
                  </a:cubicBezTo>
                  <a:cubicBezTo>
                    <a:pt x="973" y="1098"/>
                    <a:pt x="1128" y="1258"/>
                    <a:pt x="1131" y="1261"/>
                  </a:cubicBezTo>
                  <a:cubicBezTo>
                    <a:pt x="1164" y="1295"/>
                    <a:pt x="1220" y="1295"/>
                    <a:pt x="1254" y="1261"/>
                  </a:cubicBezTo>
                  <a:cubicBezTo>
                    <a:pt x="1288" y="1227"/>
                    <a:pt x="1288" y="1172"/>
                    <a:pt x="1254" y="1138"/>
                  </a:cubicBezTo>
                  <a:cubicBezTo>
                    <a:pt x="1252" y="1136"/>
                    <a:pt x="1245" y="1130"/>
                    <a:pt x="1243" y="1127"/>
                  </a:cubicBezTo>
                  <a:cubicBezTo>
                    <a:pt x="1243" y="1127"/>
                    <a:pt x="1090" y="991"/>
                    <a:pt x="1101" y="979"/>
                  </a:cubicBezTo>
                  <a:cubicBezTo>
                    <a:pt x="1113" y="967"/>
                    <a:pt x="1303" y="1145"/>
                    <a:pt x="1303" y="1145"/>
                  </a:cubicBezTo>
                  <a:cubicBezTo>
                    <a:pt x="1337" y="1175"/>
                    <a:pt x="1390" y="1175"/>
                    <a:pt x="1423" y="1142"/>
                  </a:cubicBezTo>
                  <a:cubicBezTo>
                    <a:pt x="1455" y="1110"/>
                    <a:pt x="1456" y="1060"/>
                    <a:pt x="1427" y="1026"/>
                  </a:cubicBezTo>
                  <a:cubicBezTo>
                    <a:pt x="1427" y="1024"/>
                    <a:pt x="1282" y="873"/>
                    <a:pt x="1294" y="862"/>
                  </a:cubicBezTo>
                  <a:cubicBezTo>
                    <a:pt x="1305" y="851"/>
                    <a:pt x="1448" y="997"/>
                    <a:pt x="1448" y="998"/>
                  </a:cubicBezTo>
                  <a:cubicBezTo>
                    <a:pt x="1482" y="1032"/>
                    <a:pt x="1537" y="1032"/>
                    <a:pt x="1571" y="998"/>
                  </a:cubicBezTo>
                  <a:cubicBezTo>
                    <a:pt x="1605" y="964"/>
                    <a:pt x="1605" y="909"/>
                    <a:pt x="1571" y="874"/>
                  </a:cubicBezTo>
                  <a:cubicBezTo>
                    <a:pt x="1571" y="874"/>
                    <a:pt x="1570" y="874"/>
                    <a:pt x="1570" y="8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BEBA3565-A360-4706-8CAC-1702D7F94ECB}"/>
              </a:ext>
            </a:extLst>
          </p:cNvPr>
          <p:cNvGrpSpPr/>
          <p:nvPr/>
        </p:nvGrpSpPr>
        <p:grpSpPr>
          <a:xfrm>
            <a:off x="3607816" y="2462291"/>
            <a:ext cx="4954652" cy="0"/>
            <a:chOff x="3607816" y="2361046"/>
            <a:chExt cx="4954652" cy="0"/>
          </a:xfrm>
        </p:grpSpPr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FC909B29-519C-4516-942C-6FA8E489C3C0}"/>
                </a:ext>
              </a:extLst>
            </p:cNvPr>
            <p:cNvCxnSpPr>
              <a:cxnSpLocks/>
            </p:cNvCxnSpPr>
            <p:nvPr/>
          </p:nvCxnSpPr>
          <p:spPr>
            <a:xfrm>
              <a:off x="3607816" y="2361046"/>
              <a:ext cx="372618" cy="0"/>
            </a:xfrm>
            <a:prstGeom prst="line">
              <a:avLst/>
            </a:prstGeom>
            <a:noFill/>
            <a:ln w="12700" cap="flat" cmpd="sng" algn="ctr">
              <a:solidFill>
                <a:srgbClr val="F9B61F"/>
              </a:solidFill>
              <a:prstDash val="dash"/>
              <a:miter lim="800000"/>
              <a:headEnd type="oval"/>
            </a:ln>
            <a:effectLst/>
          </p:spPr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0D9513CF-8454-4B60-9D5B-385B24676D6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189850" y="2361046"/>
              <a:ext cx="372618" cy="0"/>
            </a:xfrm>
            <a:prstGeom prst="line">
              <a:avLst/>
            </a:prstGeom>
            <a:noFill/>
            <a:ln w="12700" cap="flat" cmpd="sng" algn="ctr">
              <a:solidFill>
                <a:srgbClr val="505DAA"/>
              </a:solidFill>
              <a:prstDash val="dash"/>
              <a:miter lim="800000"/>
              <a:headEnd type="oval"/>
            </a:ln>
            <a:effectLst/>
          </p:spPr>
        </p:cxnSp>
      </p:grp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E1E4826A-0900-4A44-B486-4D2B41B4239B}"/>
              </a:ext>
            </a:extLst>
          </p:cNvPr>
          <p:cNvCxnSpPr>
            <a:cxnSpLocks/>
          </p:cNvCxnSpPr>
          <p:nvPr/>
        </p:nvCxnSpPr>
        <p:spPr>
          <a:xfrm>
            <a:off x="3607816" y="5069987"/>
            <a:ext cx="372618" cy="0"/>
          </a:xfrm>
          <a:prstGeom prst="line">
            <a:avLst/>
          </a:prstGeom>
          <a:noFill/>
          <a:ln w="12700" cap="flat" cmpd="sng" algn="ctr">
            <a:solidFill>
              <a:srgbClr val="132A50"/>
            </a:solidFill>
            <a:prstDash val="dash"/>
            <a:miter lim="800000"/>
            <a:headEnd type="oval"/>
          </a:ln>
          <a:effectLst/>
        </p:spPr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C7398AEA-5DE1-4516-8F6A-4EB97997642B}"/>
              </a:ext>
            </a:extLst>
          </p:cNvPr>
          <p:cNvCxnSpPr>
            <a:cxnSpLocks/>
          </p:cNvCxnSpPr>
          <p:nvPr/>
        </p:nvCxnSpPr>
        <p:spPr>
          <a:xfrm flipH="1">
            <a:off x="8189850" y="5069987"/>
            <a:ext cx="372618" cy="0"/>
          </a:xfrm>
          <a:prstGeom prst="line">
            <a:avLst/>
          </a:prstGeom>
          <a:noFill/>
          <a:ln w="12700" cap="flat" cmpd="sng" algn="ctr">
            <a:solidFill>
              <a:srgbClr val="A2DDF5"/>
            </a:solidFill>
            <a:prstDash val="dash"/>
            <a:miter lim="800000"/>
            <a:headEnd type="oval"/>
          </a:ln>
          <a:effectLst/>
        </p:spPr>
      </p:cxnSp>
      <p:sp>
        <p:nvSpPr>
          <p:cNvPr id="118" name="Slide Number Placeholder 3">
            <a:extLst>
              <a:ext uri="{FF2B5EF4-FFF2-40B4-BE49-F238E27FC236}">
                <a16:creationId xmlns:a16="http://schemas.microsoft.com/office/drawing/2014/main" id="{5E25B3DA-EF60-4458-AD37-0E681888F0EE}"/>
              </a:ext>
            </a:extLst>
          </p:cNvPr>
          <p:cNvSpPr txBox="1">
            <a:spLocks/>
          </p:cNvSpPr>
          <p:nvPr/>
        </p:nvSpPr>
        <p:spPr>
          <a:xfrm>
            <a:off x="11031749" y="138430"/>
            <a:ext cx="4242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6953FAA-0042-4AB5-AB8F-C115E6331DA8}" type="slidenum">
              <a:rPr lang="en-US" smtClean="0">
                <a:solidFill>
                  <a:prstClr val="white"/>
                </a:solidFill>
                <a:latin typeface="Calibri" panose="020F0502020204030204"/>
              </a:rPr>
              <a:pPr/>
              <a:t>6</a:t>
            </a:fld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984433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zigZag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A252347A-73EF-4021-A502-2D02F6F1D190}"/>
              </a:ext>
            </a:extLst>
          </p:cNvPr>
          <p:cNvSpPr/>
          <p:nvPr/>
        </p:nvSpPr>
        <p:spPr>
          <a:xfrm rot="10800000">
            <a:off x="4911725" y="1"/>
            <a:ext cx="7280275" cy="1238863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2F4964F9-79AB-4BE1-9862-76CE4510D553}"/>
              </a:ext>
            </a:extLst>
          </p:cNvPr>
          <p:cNvSpPr/>
          <p:nvPr/>
        </p:nvSpPr>
        <p:spPr>
          <a:xfrm>
            <a:off x="-3175" y="5619137"/>
            <a:ext cx="7280275" cy="1238863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C67D406-5165-4360-8C1C-324029DCCE25}"/>
              </a:ext>
            </a:extLst>
          </p:cNvPr>
          <p:cNvSpPr txBox="1"/>
          <p:nvPr/>
        </p:nvSpPr>
        <p:spPr>
          <a:xfrm>
            <a:off x="266700" y="337269"/>
            <a:ext cx="11658600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Segoe UI Black" panose="020B0A02040204020203" pitchFamily="34" charset="0"/>
                <a:cs typeface="Segoe UI" panose="020B0502040204020203" pitchFamily="34" charset="0"/>
              </a:rPr>
              <a:t>Process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entury Gothic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DB29CA6-4E83-495F-8FB9-F16CB73CBD8F}"/>
              </a:ext>
            </a:extLst>
          </p:cNvPr>
          <p:cNvCxnSpPr/>
          <p:nvPr/>
        </p:nvCxnSpPr>
        <p:spPr>
          <a:xfrm>
            <a:off x="528638" y="1600200"/>
            <a:ext cx="3876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E912DF3A-6767-4AB7-9223-73F1E13B50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9113" y="1064179"/>
            <a:ext cx="7334250" cy="5204390"/>
          </a:xfrm>
          <a:prstGeom prst="rect">
            <a:avLst/>
          </a:prstGeom>
        </p:spPr>
      </p:pic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D4912E25-0E77-4AC8-8957-44DD1F8FB819}"/>
              </a:ext>
            </a:extLst>
          </p:cNvPr>
          <p:cNvCxnSpPr/>
          <p:nvPr/>
        </p:nvCxnSpPr>
        <p:spPr>
          <a:xfrm>
            <a:off x="528638" y="3619200"/>
            <a:ext cx="387667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8B20377B-CF60-48E1-A1A3-7FD3BF3A5D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3516" y="1396283"/>
            <a:ext cx="6702014" cy="3754683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087BEA9-FFE9-4A33-8207-C797B8C48176}"/>
              </a:ext>
            </a:extLst>
          </p:cNvPr>
          <p:cNvSpPr/>
          <p:nvPr/>
        </p:nvSpPr>
        <p:spPr>
          <a:xfrm>
            <a:off x="817581" y="1882588"/>
            <a:ext cx="3408102" cy="1546412"/>
          </a:xfrm>
          <a:prstGeom prst="roundRect">
            <a:avLst/>
          </a:prstGeom>
          <a:solidFill>
            <a:srgbClr val="DC8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tep 5: Get the chain information</a:t>
            </a:r>
          </a:p>
        </p:txBody>
      </p:sp>
    </p:spTree>
    <p:extLst>
      <p:ext uri="{BB962C8B-B14F-4D97-AF65-F5344CB8AC3E}">
        <p14:creationId xmlns:p14="http://schemas.microsoft.com/office/powerpoint/2010/main" val="38832843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zigZag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A252347A-73EF-4021-A502-2D02F6F1D190}"/>
              </a:ext>
            </a:extLst>
          </p:cNvPr>
          <p:cNvSpPr/>
          <p:nvPr/>
        </p:nvSpPr>
        <p:spPr>
          <a:xfrm rot="10800000">
            <a:off x="4911725" y="1"/>
            <a:ext cx="7280275" cy="1238863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2F4964F9-79AB-4BE1-9862-76CE4510D553}"/>
              </a:ext>
            </a:extLst>
          </p:cNvPr>
          <p:cNvSpPr/>
          <p:nvPr/>
        </p:nvSpPr>
        <p:spPr>
          <a:xfrm>
            <a:off x="-3176" y="6080840"/>
            <a:ext cx="4538793" cy="772353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174DEE18-1746-4BF2-8B91-E7239491A1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79887" y="142891"/>
            <a:ext cx="953423" cy="2795892"/>
          </a:xfrm>
          <a:prstGeom prst="rect">
            <a:avLst/>
          </a:prstGeom>
        </p:spPr>
      </p:pic>
      <p:sp>
        <p:nvSpPr>
          <p:cNvPr id="56" name="Title 1">
            <a:extLst>
              <a:ext uri="{FF2B5EF4-FFF2-40B4-BE49-F238E27FC236}">
                <a16:creationId xmlns:a16="http://schemas.microsoft.com/office/drawing/2014/main" id="{4086E309-5A9A-46CC-A806-F771B04B7837}"/>
              </a:ext>
            </a:extLst>
          </p:cNvPr>
          <p:cNvSpPr txBox="1">
            <a:spLocks/>
          </p:cNvSpPr>
          <p:nvPr/>
        </p:nvSpPr>
        <p:spPr>
          <a:xfrm>
            <a:off x="1257300" y="441182"/>
            <a:ext cx="10096500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solidFill>
                  <a:srgbClr val="123656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Transaction Required Details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123656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1C46D970-7CDD-4976-83A4-22E713E6DCD9}"/>
              </a:ext>
            </a:extLst>
          </p:cNvPr>
          <p:cNvSpPr/>
          <p:nvPr/>
        </p:nvSpPr>
        <p:spPr>
          <a:xfrm>
            <a:off x="1257299" y="1003611"/>
            <a:ext cx="6849637" cy="5329992"/>
          </a:xfrm>
          <a:prstGeom prst="rect">
            <a:avLst/>
          </a:prstGeom>
          <a:solidFill>
            <a:srgbClr val="654B8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B3DD1419-6AE8-4716-8EDF-84E222BE39A3}"/>
              </a:ext>
            </a:extLst>
          </p:cNvPr>
          <p:cNvGrpSpPr/>
          <p:nvPr/>
        </p:nvGrpSpPr>
        <p:grpSpPr>
          <a:xfrm>
            <a:off x="1480229" y="4480408"/>
            <a:ext cx="2438767" cy="1599416"/>
            <a:chOff x="1238250" y="2264138"/>
            <a:chExt cx="2540000" cy="1665808"/>
          </a:xfrm>
        </p:grpSpPr>
        <p:sp>
          <p:nvSpPr>
            <p:cNvPr id="61" name="Title 1">
              <a:extLst>
                <a:ext uri="{FF2B5EF4-FFF2-40B4-BE49-F238E27FC236}">
                  <a16:creationId xmlns:a16="http://schemas.microsoft.com/office/drawing/2014/main" id="{80CF1EAB-FB68-4EA5-A79D-6DA8F4CF455A}"/>
                </a:ext>
              </a:extLst>
            </p:cNvPr>
            <p:cNvSpPr txBox="1">
              <a:spLocks/>
            </p:cNvSpPr>
            <p:nvPr/>
          </p:nvSpPr>
          <p:spPr>
            <a:xfrm>
              <a:off x="1238250" y="3670299"/>
              <a:ext cx="2540000" cy="25964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j-ea"/>
                  <a:cs typeface="+mj-cs"/>
                </a:rPr>
                <a:t>Required Detail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j-ea"/>
                <a:cs typeface="+mj-cs"/>
              </a:endParaRPr>
            </a:p>
          </p:txBody>
        </p: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DEB2BC58-CF66-460E-9A33-440A7685520D}"/>
                </a:ext>
              </a:extLst>
            </p:cNvPr>
            <p:cNvCxnSpPr/>
            <p:nvPr/>
          </p:nvCxnSpPr>
          <p:spPr>
            <a:xfrm>
              <a:off x="1238250" y="3349464"/>
              <a:ext cx="768350" cy="0"/>
            </a:xfrm>
            <a:prstGeom prst="line">
              <a:avLst/>
            </a:prstGeom>
            <a:noFill/>
            <a:ln w="762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</p:cxn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A5870DCD-9C5B-4968-921C-50AD8F659819}"/>
                </a:ext>
              </a:extLst>
            </p:cNvPr>
            <p:cNvGrpSpPr/>
            <p:nvPr/>
          </p:nvGrpSpPr>
          <p:grpSpPr>
            <a:xfrm>
              <a:off x="1238250" y="2264138"/>
              <a:ext cx="768350" cy="764490"/>
              <a:chOff x="1238250" y="2264138"/>
              <a:chExt cx="768350" cy="764490"/>
            </a:xfrm>
          </p:grpSpPr>
          <p:sp>
            <p:nvSpPr>
              <p:cNvPr id="65" name="Freeform 10">
                <a:extLst>
                  <a:ext uri="{FF2B5EF4-FFF2-40B4-BE49-F238E27FC236}">
                    <a16:creationId xmlns:a16="http://schemas.microsoft.com/office/drawing/2014/main" id="{96C16C6C-53F1-4538-A682-7C863B0EE1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664" y="2264138"/>
                <a:ext cx="640936" cy="571437"/>
              </a:xfrm>
              <a:custGeom>
                <a:avLst/>
                <a:gdLst>
                  <a:gd name="T0" fmla="*/ 166 w 166"/>
                  <a:gd name="T1" fmla="*/ 0 h 148"/>
                  <a:gd name="T2" fmla="*/ 48 w 166"/>
                  <a:gd name="T3" fmla="*/ 148 h 148"/>
                  <a:gd name="T4" fmla="*/ 0 w 166"/>
                  <a:gd name="T5" fmla="*/ 10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6" h="148">
                    <a:moveTo>
                      <a:pt x="166" y="0"/>
                    </a:moveTo>
                    <a:lnTo>
                      <a:pt x="48" y="148"/>
                    </a:lnTo>
                    <a:lnTo>
                      <a:pt x="0" y="100"/>
                    </a:lnTo>
                  </a:path>
                </a:pathLst>
              </a:custGeom>
              <a:noFill/>
              <a:ln w="15875" cap="rnd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" name="Freeform 11">
                <a:extLst>
                  <a:ext uri="{FF2B5EF4-FFF2-40B4-BE49-F238E27FC236}">
                    <a16:creationId xmlns:a16="http://schemas.microsoft.com/office/drawing/2014/main" id="{2F1EE69F-D187-4AAF-A92D-A3BCC1536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8250" y="2364526"/>
                <a:ext cx="660243" cy="664102"/>
              </a:xfrm>
              <a:custGeom>
                <a:avLst/>
                <a:gdLst>
                  <a:gd name="T0" fmla="*/ 171 w 171"/>
                  <a:gd name="T1" fmla="*/ 62 h 172"/>
                  <a:gd name="T2" fmla="*/ 171 w 171"/>
                  <a:gd name="T3" fmla="*/ 172 h 172"/>
                  <a:gd name="T4" fmla="*/ 0 w 171"/>
                  <a:gd name="T5" fmla="*/ 172 h 172"/>
                  <a:gd name="T6" fmla="*/ 0 w 171"/>
                  <a:gd name="T7" fmla="*/ 0 h 172"/>
                  <a:gd name="T8" fmla="*/ 119 w 171"/>
                  <a:gd name="T9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172">
                    <a:moveTo>
                      <a:pt x="171" y="62"/>
                    </a:moveTo>
                    <a:lnTo>
                      <a:pt x="171" y="172"/>
                    </a:lnTo>
                    <a:lnTo>
                      <a:pt x="0" y="172"/>
                    </a:lnTo>
                    <a:lnTo>
                      <a:pt x="0" y="0"/>
                    </a:lnTo>
                    <a:lnTo>
                      <a:pt x="119" y="0"/>
                    </a:lnTo>
                  </a:path>
                </a:pathLst>
              </a:custGeom>
              <a:noFill/>
              <a:ln w="15875" cap="rnd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BE31F97B-DFC8-413A-966A-553BEE15AABC}"/>
              </a:ext>
            </a:extLst>
          </p:cNvPr>
          <p:cNvSpPr/>
          <p:nvPr/>
        </p:nvSpPr>
        <p:spPr>
          <a:xfrm>
            <a:off x="8285477" y="1305492"/>
            <a:ext cx="5971047" cy="2769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ders Name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668CC1E-B673-4FAF-80F3-247B0C0A78B3}"/>
              </a:ext>
            </a:extLst>
          </p:cNvPr>
          <p:cNvSpPr/>
          <p:nvPr/>
        </p:nvSpPr>
        <p:spPr>
          <a:xfrm>
            <a:off x="7149306" y="1066361"/>
            <a:ext cx="725533" cy="725533"/>
          </a:xfrm>
          <a:prstGeom prst="rect">
            <a:avLst/>
          </a:prstGeom>
          <a:solidFill>
            <a:srgbClr val="E0839A"/>
          </a:solidFill>
          <a:ln w="381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1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6221D71-447C-45BD-BA8E-A1EBE58B6589}"/>
              </a:ext>
            </a:extLst>
          </p:cNvPr>
          <p:cNvSpPr/>
          <p:nvPr/>
        </p:nvSpPr>
        <p:spPr>
          <a:xfrm>
            <a:off x="8285476" y="2461912"/>
            <a:ext cx="5971047" cy="2769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der </a:t>
            </a:r>
            <a:r>
              <a:rPr kumimoji="0" lang="en-IN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ncard</a:t>
            </a:r>
            <a:r>
              <a: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umber.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5A6C6AC-D2FE-41BF-BA0D-51B281394C76}"/>
              </a:ext>
            </a:extLst>
          </p:cNvPr>
          <p:cNvSpPr/>
          <p:nvPr/>
        </p:nvSpPr>
        <p:spPr>
          <a:xfrm>
            <a:off x="7149306" y="2289551"/>
            <a:ext cx="725533" cy="725533"/>
          </a:xfrm>
          <a:prstGeom prst="rect">
            <a:avLst/>
          </a:prstGeom>
          <a:solidFill>
            <a:srgbClr val="E0839A"/>
          </a:solidFill>
          <a:ln w="381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2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C58DA092-C08F-4CA8-8097-928733AC1CDE}"/>
              </a:ext>
            </a:extLst>
          </p:cNvPr>
          <p:cNvSpPr/>
          <p:nvPr/>
        </p:nvSpPr>
        <p:spPr>
          <a:xfrm>
            <a:off x="7143343" y="3524645"/>
            <a:ext cx="725533" cy="725533"/>
          </a:xfrm>
          <a:prstGeom prst="rect">
            <a:avLst/>
          </a:prstGeom>
          <a:solidFill>
            <a:srgbClr val="E0839A"/>
          </a:solidFill>
          <a:ln w="381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3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E629FD9E-61D6-48B9-BF3D-FD756C7CCFE6}"/>
              </a:ext>
            </a:extLst>
          </p:cNvPr>
          <p:cNvSpPr/>
          <p:nvPr/>
        </p:nvSpPr>
        <p:spPr>
          <a:xfrm>
            <a:off x="7167854" y="4597954"/>
            <a:ext cx="725533" cy="725533"/>
          </a:xfrm>
          <a:prstGeom prst="rect">
            <a:avLst/>
          </a:prstGeom>
          <a:solidFill>
            <a:srgbClr val="E0839A"/>
          </a:solidFill>
          <a:ln w="381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4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0D6A0600-FC0E-4853-96C5-DF516DD9685E}"/>
              </a:ext>
            </a:extLst>
          </p:cNvPr>
          <p:cNvCxnSpPr>
            <a:cxnSpLocks/>
          </p:cNvCxnSpPr>
          <p:nvPr/>
        </p:nvCxnSpPr>
        <p:spPr>
          <a:xfrm>
            <a:off x="6991815" y="2098130"/>
            <a:ext cx="4361983" cy="6257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85000"/>
              </a:sysClr>
            </a:solidFill>
            <a:prstDash val="dash"/>
            <a:miter lim="800000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3161BACF-4DBE-483E-A602-39F1D3989691}"/>
              </a:ext>
            </a:extLst>
          </p:cNvPr>
          <p:cNvCxnSpPr>
            <a:cxnSpLocks/>
          </p:cNvCxnSpPr>
          <p:nvPr/>
        </p:nvCxnSpPr>
        <p:spPr>
          <a:xfrm>
            <a:off x="6991815" y="3163996"/>
            <a:ext cx="4279185" cy="54413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85000"/>
              </a:sysClr>
            </a:solidFill>
            <a:prstDash val="dash"/>
            <a:miter lim="800000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B0BD8989-06C7-4731-8903-FEC7E68ED9E8}"/>
              </a:ext>
            </a:extLst>
          </p:cNvPr>
          <p:cNvCxnSpPr>
            <a:cxnSpLocks/>
          </p:cNvCxnSpPr>
          <p:nvPr/>
        </p:nvCxnSpPr>
        <p:spPr>
          <a:xfrm>
            <a:off x="6991815" y="4425762"/>
            <a:ext cx="4279185" cy="54646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85000"/>
              </a:sysClr>
            </a:solidFill>
            <a:prstDash val="dash"/>
            <a:miter lim="800000"/>
          </a:ln>
          <a:effectLst/>
        </p:spPr>
      </p:cxnSp>
      <p:sp>
        <p:nvSpPr>
          <p:cNvPr id="78" name="Rectangle 77">
            <a:extLst>
              <a:ext uri="{FF2B5EF4-FFF2-40B4-BE49-F238E27FC236}">
                <a16:creationId xmlns:a16="http://schemas.microsoft.com/office/drawing/2014/main" id="{4214F022-9181-435F-8785-694E169C1F65}"/>
              </a:ext>
            </a:extLst>
          </p:cNvPr>
          <p:cNvSpPr/>
          <p:nvPr/>
        </p:nvSpPr>
        <p:spPr>
          <a:xfrm>
            <a:off x="7135398" y="5581189"/>
            <a:ext cx="725533" cy="725533"/>
          </a:xfrm>
          <a:prstGeom prst="rect">
            <a:avLst/>
          </a:prstGeom>
          <a:solidFill>
            <a:srgbClr val="E0839A"/>
          </a:solidFill>
          <a:ln w="381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</a:t>
            </a:r>
            <a:r>
              <a:rPr kumimoji="0" lang="id-ID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5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5C53DF2A-39BD-4F40-A926-3B862BD1467E}"/>
              </a:ext>
            </a:extLst>
          </p:cNvPr>
          <p:cNvCxnSpPr>
            <a:cxnSpLocks/>
          </p:cNvCxnSpPr>
          <p:nvPr/>
        </p:nvCxnSpPr>
        <p:spPr>
          <a:xfrm>
            <a:off x="6991815" y="5441033"/>
            <a:ext cx="4279185" cy="36931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85000"/>
              </a:sysClr>
            </a:solidFill>
            <a:prstDash val="dash"/>
            <a:miter lim="800000"/>
          </a:ln>
          <a:effectLst/>
        </p:spPr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C9AC12BF-4E16-4DA1-B6DA-981FE546B6FF}"/>
              </a:ext>
            </a:extLst>
          </p:cNvPr>
          <p:cNvSpPr txBox="1"/>
          <p:nvPr/>
        </p:nvSpPr>
        <p:spPr>
          <a:xfrm>
            <a:off x="8457485" y="5830240"/>
            <a:ext cx="60942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Amount 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C8F776C-63C3-48F4-9F50-5A5FE41B3025}"/>
              </a:ext>
            </a:extLst>
          </p:cNvPr>
          <p:cNvSpPr/>
          <p:nvPr/>
        </p:nvSpPr>
        <p:spPr>
          <a:xfrm>
            <a:off x="8405371" y="3683586"/>
            <a:ext cx="5971047" cy="2769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eiver Nam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6A99DE4-F452-4B75-BA3A-CD96C567A55E}"/>
              </a:ext>
            </a:extLst>
          </p:cNvPr>
          <p:cNvSpPr/>
          <p:nvPr/>
        </p:nvSpPr>
        <p:spPr>
          <a:xfrm>
            <a:off x="8368275" y="4890570"/>
            <a:ext cx="5971047" cy="2769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eiver </a:t>
            </a:r>
            <a:r>
              <a:rPr kumimoji="0" lang="en-IN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ncard</a:t>
            </a:r>
            <a:r>
              <a: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umber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5CD068BA-0740-4FFB-B179-4EA986EBFC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3947" y="1691212"/>
            <a:ext cx="5597260" cy="3738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2466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327EB8D-22C0-44E5-B23D-293B91E9CD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327EB8D-22C0-44E5-B23D-293B91E9CD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" name="Rectangle: Rounded Corners 150">
            <a:extLst>
              <a:ext uri="{FF2B5EF4-FFF2-40B4-BE49-F238E27FC236}">
                <a16:creationId xmlns:a16="http://schemas.microsoft.com/office/drawing/2014/main" id="{049A224D-6EEA-4A66-A6B2-58327BAA7207}"/>
              </a:ext>
            </a:extLst>
          </p:cNvPr>
          <p:cNvSpPr/>
          <p:nvPr/>
        </p:nvSpPr>
        <p:spPr>
          <a:xfrm>
            <a:off x="5259388" y="2133600"/>
            <a:ext cx="5675312" cy="361950"/>
          </a:xfrm>
          <a:prstGeom prst="roundRect">
            <a:avLst>
              <a:gd name="adj" fmla="val 1755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0" name="Rectangle: Rounded Corners 149">
            <a:extLst>
              <a:ext uri="{FF2B5EF4-FFF2-40B4-BE49-F238E27FC236}">
                <a16:creationId xmlns:a16="http://schemas.microsoft.com/office/drawing/2014/main" id="{A44B4222-FC4F-426B-BE4A-57B08E3C5AC8}"/>
              </a:ext>
            </a:extLst>
          </p:cNvPr>
          <p:cNvSpPr/>
          <p:nvPr/>
        </p:nvSpPr>
        <p:spPr>
          <a:xfrm>
            <a:off x="5259388" y="2514600"/>
            <a:ext cx="5675312" cy="3111499"/>
          </a:xfrm>
          <a:prstGeom prst="roundRect">
            <a:avLst>
              <a:gd name="adj" fmla="val 176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 88">
            <a:extLst>
              <a:ext uri="{FF2B5EF4-FFF2-40B4-BE49-F238E27FC236}">
                <a16:creationId xmlns:a16="http://schemas.microsoft.com/office/drawing/2014/main" id="{54908159-7B1F-49B5-A33B-6CB60D2EC706}"/>
              </a:ext>
            </a:extLst>
          </p:cNvPr>
          <p:cNvSpPr/>
          <p:nvPr/>
        </p:nvSpPr>
        <p:spPr>
          <a:xfrm rot="2700000">
            <a:off x="-316182" y="5638124"/>
            <a:ext cx="1561956" cy="1321384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730DE62-592D-49FE-909C-CB851583CB75}"/>
              </a:ext>
            </a:extLst>
          </p:cNvPr>
          <p:cNvGrpSpPr/>
          <p:nvPr/>
        </p:nvGrpSpPr>
        <p:grpSpPr>
          <a:xfrm>
            <a:off x="8768944" y="5261922"/>
            <a:ext cx="2839913" cy="3023881"/>
            <a:chOff x="729619" y="4658524"/>
            <a:chExt cx="3960930" cy="4217517"/>
          </a:xfrm>
        </p:grpSpPr>
        <p:sp>
          <p:nvSpPr>
            <p:cNvPr id="14" name="Freeform 94">
              <a:extLst>
                <a:ext uri="{FF2B5EF4-FFF2-40B4-BE49-F238E27FC236}">
                  <a16:creationId xmlns:a16="http://schemas.microsoft.com/office/drawing/2014/main" id="{19F0155E-B820-4A85-9389-BC56020BF9C8}"/>
                </a:ext>
              </a:extLst>
            </p:cNvPr>
            <p:cNvSpPr/>
            <p:nvPr/>
          </p:nvSpPr>
          <p:spPr>
            <a:xfrm rot="2700000">
              <a:off x="601325" y="4786818"/>
              <a:ext cx="4217517" cy="3960930"/>
            </a:xfrm>
            <a:custGeom>
              <a:avLst/>
              <a:gdLst>
                <a:gd name="connsiteX0" fmla="*/ 266704 w 4217517"/>
                <a:gd name="connsiteY0" fmla="*/ 266704 h 3960930"/>
                <a:gd name="connsiteX1" fmla="*/ 910585 w 4217517"/>
                <a:gd name="connsiteY1" fmla="*/ 0 h 3960930"/>
                <a:gd name="connsiteX2" fmla="*/ 4217517 w 4217517"/>
                <a:gd name="connsiteY2" fmla="*/ 0 h 3960930"/>
                <a:gd name="connsiteX3" fmla="*/ 256587 w 4217517"/>
                <a:gd name="connsiteY3" fmla="*/ 3960930 h 3960930"/>
                <a:gd name="connsiteX4" fmla="*/ 0 w 4217517"/>
                <a:gd name="connsiteY4" fmla="*/ 3704343 h 3960930"/>
                <a:gd name="connsiteX5" fmla="*/ 0 w 4217517"/>
                <a:gd name="connsiteY5" fmla="*/ 910585 h 3960930"/>
                <a:gd name="connsiteX6" fmla="*/ 266704 w 4217517"/>
                <a:gd name="connsiteY6" fmla="*/ 266704 h 396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7517" h="3960930">
                  <a:moveTo>
                    <a:pt x="266704" y="266704"/>
                  </a:moveTo>
                  <a:cubicBezTo>
                    <a:pt x="431488" y="101921"/>
                    <a:pt x="659134" y="0"/>
                    <a:pt x="910585" y="0"/>
                  </a:cubicBezTo>
                  <a:lnTo>
                    <a:pt x="4217517" y="0"/>
                  </a:lnTo>
                  <a:lnTo>
                    <a:pt x="256587" y="3960930"/>
                  </a:lnTo>
                  <a:lnTo>
                    <a:pt x="0" y="3704343"/>
                  </a:lnTo>
                  <a:lnTo>
                    <a:pt x="0" y="910585"/>
                  </a:lnTo>
                  <a:cubicBezTo>
                    <a:pt x="0" y="659134"/>
                    <a:pt x="101921" y="431488"/>
                    <a:pt x="266704" y="26670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/>
                </a:gs>
                <a:gs pos="100000">
                  <a:schemeClr val="accent1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54">
              <a:extLst>
                <a:ext uri="{FF2B5EF4-FFF2-40B4-BE49-F238E27FC236}">
                  <a16:creationId xmlns:a16="http://schemas.microsoft.com/office/drawing/2014/main" id="{641D0402-367A-41EB-94E6-5EF481117368}"/>
                </a:ext>
              </a:extLst>
            </p:cNvPr>
            <p:cNvSpPr/>
            <p:nvPr/>
          </p:nvSpPr>
          <p:spPr>
            <a:xfrm rot="2700000">
              <a:off x="1792653" y="6109207"/>
              <a:ext cx="1497585" cy="1497584"/>
            </a:xfrm>
            <a:custGeom>
              <a:avLst/>
              <a:gdLst>
                <a:gd name="connsiteX0" fmla="*/ 185271 w 1497585"/>
                <a:gd name="connsiteY0" fmla="*/ 185271 h 1497584"/>
                <a:gd name="connsiteX1" fmla="*/ 632555 w 1497585"/>
                <a:gd name="connsiteY1" fmla="*/ 0 h 1497584"/>
                <a:gd name="connsiteX2" fmla="*/ 1497585 w 1497585"/>
                <a:gd name="connsiteY2" fmla="*/ 0 h 1497584"/>
                <a:gd name="connsiteX3" fmla="*/ 0 w 1497585"/>
                <a:gd name="connsiteY3" fmla="*/ 1497584 h 1497584"/>
                <a:gd name="connsiteX4" fmla="*/ 0 w 1497585"/>
                <a:gd name="connsiteY4" fmla="*/ 632556 h 1497584"/>
                <a:gd name="connsiteX5" fmla="*/ 185271 w 1497585"/>
                <a:gd name="connsiteY5" fmla="*/ 185271 h 1497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7585" h="1497584">
                  <a:moveTo>
                    <a:pt x="185271" y="185271"/>
                  </a:moveTo>
                  <a:cubicBezTo>
                    <a:pt x="299741" y="70801"/>
                    <a:pt x="457880" y="0"/>
                    <a:pt x="632555" y="0"/>
                  </a:cubicBezTo>
                  <a:lnTo>
                    <a:pt x="1497585" y="0"/>
                  </a:lnTo>
                  <a:lnTo>
                    <a:pt x="0" y="1497584"/>
                  </a:lnTo>
                  <a:lnTo>
                    <a:pt x="0" y="632556"/>
                  </a:lnTo>
                  <a:cubicBezTo>
                    <a:pt x="0" y="457880"/>
                    <a:pt x="70801" y="299741"/>
                    <a:pt x="185271" y="18527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/>
                </a:gs>
                <a:gs pos="100000">
                  <a:schemeClr val="accent1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8" name="Group 5">
            <a:extLst>
              <a:ext uri="{FF2B5EF4-FFF2-40B4-BE49-F238E27FC236}">
                <a16:creationId xmlns:a16="http://schemas.microsoft.com/office/drawing/2014/main" id="{AC2CA683-147B-481D-A774-D64A5030BA1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64050" y="1092200"/>
            <a:ext cx="7302500" cy="5397500"/>
            <a:chOff x="2812" y="688"/>
            <a:chExt cx="4600" cy="3400"/>
          </a:xfrm>
        </p:grpSpPr>
        <p:sp>
          <p:nvSpPr>
            <p:cNvPr id="20" name="Line 6">
              <a:extLst>
                <a:ext uri="{FF2B5EF4-FFF2-40B4-BE49-F238E27FC236}">
                  <a16:creationId xmlns:a16="http://schemas.microsoft.com/office/drawing/2014/main" id="{EE414EAA-0098-4082-9A4B-19837AA9F9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13" y="1573"/>
              <a:ext cx="3576" cy="0"/>
            </a:xfrm>
            <a:prstGeom prst="line">
              <a:avLst/>
            </a:prstGeom>
            <a:noFill/>
            <a:ln w="23813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1575E38-A88C-4846-AD8C-8E5FB2AFD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1338"/>
              <a:ext cx="3576" cy="2214"/>
            </a:xfrm>
            <a:custGeom>
              <a:avLst/>
              <a:gdLst>
                <a:gd name="T0" fmla="*/ 1971 w 1997"/>
                <a:gd name="T1" fmla="*/ 1236 h 1236"/>
                <a:gd name="T2" fmla="*/ 26 w 1997"/>
                <a:gd name="T3" fmla="*/ 1236 h 1236"/>
                <a:gd name="T4" fmla="*/ 0 w 1997"/>
                <a:gd name="T5" fmla="*/ 1210 h 1236"/>
                <a:gd name="T6" fmla="*/ 0 w 1997"/>
                <a:gd name="T7" fmla="*/ 26 h 1236"/>
                <a:gd name="T8" fmla="*/ 26 w 1997"/>
                <a:gd name="T9" fmla="*/ 0 h 1236"/>
                <a:gd name="T10" fmla="*/ 1971 w 1997"/>
                <a:gd name="T11" fmla="*/ 0 h 1236"/>
                <a:gd name="T12" fmla="*/ 1997 w 1997"/>
                <a:gd name="T13" fmla="*/ 26 h 1236"/>
                <a:gd name="T14" fmla="*/ 1997 w 1997"/>
                <a:gd name="T15" fmla="*/ 1210 h 1236"/>
                <a:gd name="T16" fmla="*/ 1971 w 1997"/>
                <a:gd name="T17" fmla="*/ 1236 h 1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7" h="1236">
                  <a:moveTo>
                    <a:pt x="1971" y="1236"/>
                  </a:moveTo>
                  <a:cubicBezTo>
                    <a:pt x="26" y="1236"/>
                    <a:pt x="26" y="1236"/>
                    <a:pt x="26" y="1236"/>
                  </a:cubicBezTo>
                  <a:cubicBezTo>
                    <a:pt x="12" y="1236"/>
                    <a:pt x="0" y="1224"/>
                    <a:pt x="0" y="121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cubicBezTo>
                    <a:pt x="1971" y="0"/>
                    <a:pt x="1971" y="0"/>
                    <a:pt x="1971" y="0"/>
                  </a:cubicBezTo>
                  <a:cubicBezTo>
                    <a:pt x="1986" y="0"/>
                    <a:pt x="1997" y="11"/>
                    <a:pt x="1997" y="26"/>
                  </a:cubicBezTo>
                  <a:cubicBezTo>
                    <a:pt x="1997" y="1210"/>
                    <a:pt x="1997" y="1210"/>
                    <a:pt x="1997" y="1210"/>
                  </a:cubicBezTo>
                  <a:cubicBezTo>
                    <a:pt x="1997" y="1224"/>
                    <a:pt x="1986" y="1236"/>
                    <a:pt x="1971" y="1236"/>
                  </a:cubicBezTo>
                  <a:close/>
                </a:path>
              </a:pathLst>
            </a:custGeom>
            <a:noFill/>
            <a:ln w="23813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8">
              <a:extLst>
                <a:ext uri="{FF2B5EF4-FFF2-40B4-BE49-F238E27FC236}">
                  <a16:creationId xmlns:a16="http://schemas.microsoft.com/office/drawing/2014/main" id="{BEB51A67-F0AA-42D7-95E4-EBBA1EDA7E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3" y="1424"/>
              <a:ext cx="66" cy="67"/>
            </a:xfrm>
            <a:prstGeom prst="ellipse">
              <a:avLst/>
            </a:pr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9">
              <a:extLst>
                <a:ext uri="{FF2B5EF4-FFF2-40B4-BE49-F238E27FC236}">
                  <a16:creationId xmlns:a16="http://schemas.microsoft.com/office/drawing/2014/main" id="{1C85258C-CA9F-4DC5-9FB8-C0F0245F47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0" y="1424"/>
              <a:ext cx="66" cy="67"/>
            </a:xfrm>
            <a:prstGeom prst="ellipse">
              <a:avLst/>
            </a:prstGeom>
            <a:solidFill>
              <a:srgbClr val="EAD2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Oval 10">
              <a:extLst>
                <a:ext uri="{FF2B5EF4-FFF2-40B4-BE49-F238E27FC236}">
                  <a16:creationId xmlns:a16="http://schemas.microsoft.com/office/drawing/2014/main" id="{B549CD76-1B22-476E-829E-CBF088048D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7" y="1424"/>
              <a:ext cx="67" cy="67"/>
            </a:xfrm>
            <a:prstGeom prst="ellipse">
              <a:avLst/>
            </a:prstGeom>
            <a:solidFill>
              <a:srgbClr val="0085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34BBD7C7-C0DF-403A-82CC-2BA6826AD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0" y="1500"/>
              <a:ext cx="928" cy="863"/>
            </a:xfrm>
            <a:custGeom>
              <a:avLst/>
              <a:gdLst>
                <a:gd name="T0" fmla="*/ 494 w 518"/>
                <a:gd name="T1" fmla="*/ 482 h 482"/>
                <a:gd name="T2" fmla="*/ 24 w 518"/>
                <a:gd name="T3" fmla="*/ 482 h 482"/>
                <a:gd name="T4" fmla="*/ 0 w 518"/>
                <a:gd name="T5" fmla="*/ 458 h 482"/>
                <a:gd name="T6" fmla="*/ 0 w 518"/>
                <a:gd name="T7" fmla="*/ 24 h 482"/>
                <a:gd name="T8" fmla="*/ 24 w 518"/>
                <a:gd name="T9" fmla="*/ 0 h 482"/>
                <a:gd name="T10" fmla="*/ 494 w 518"/>
                <a:gd name="T11" fmla="*/ 0 h 482"/>
                <a:gd name="T12" fmla="*/ 518 w 518"/>
                <a:gd name="T13" fmla="*/ 24 h 482"/>
                <a:gd name="T14" fmla="*/ 518 w 518"/>
                <a:gd name="T15" fmla="*/ 458 h 482"/>
                <a:gd name="T16" fmla="*/ 494 w 518"/>
                <a:gd name="T17" fmla="*/ 48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8" h="482">
                  <a:moveTo>
                    <a:pt x="494" y="482"/>
                  </a:moveTo>
                  <a:cubicBezTo>
                    <a:pt x="24" y="482"/>
                    <a:pt x="24" y="482"/>
                    <a:pt x="24" y="482"/>
                  </a:cubicBezTo>
                  <a:cubicBezTo>
                    <a:pt x="11" y="482"/>
                    <a:pt x="0" y="471"/>
                    <a:pt x="0" y="45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507" y="0"/>
                    <a:pt x="518" y="10"/>
                    <a:pt x="518" y="24"/>
                  </a:cubicBezTo>
                  <a:cubicBezTo>
                    <a:pt x="518" y="458"/>
                    <a:pt x="518" y="458"/>
                    <a:pt x="518" y="458"/>
                  </a:cubicBezTo>
                  <a:cubicBezTo>
                    <a:pt x="518" y="471"/>
                    <a:pt x="507" y="482"/>
                    <a:pt x="494" y="482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DACFFEFC-F160-4A80-8879-C156A8221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0" y="1500"/>
              <a:ext cx="928" cy="863"/>
            </a:xfrm>
            <a:custGeom>
              <a:avLst/>
              <a:gdLst>
                <a:gd name="T0" fmla="*/ 494 w 518"/>
                <a:gd name="T1" fmla="*/ 482 h 482"/>
                <a:gd name="T2" fmla="*/ 24 w 518"/>
                <a:gd name="T3" fmla="*/ 482 h 482"/>
                <a:gd name="T4" fmla="*/ 0 w 518"/>
                <a:gd name="T5" fmla="*/ 458 h 482"/>
                <a:gd name="T6" fmla="*/ 0 w 518"/>
                <a:gd name="T7" fmla="*/ 24 h 482"/>
                <a:gd name="T8" fmla="*/ 24 w 518"/>
                <a:gd name="T9" fmla="*/ 0 h 482"/>
                <a:gd name="T10" fmla="*/ 494 w 518"/>
                <a:gd name="T11" fmla="*/ 0 h 482"/>
                <a:gd name="T12" fmla="*/ 518 w 518"/>
                <a:gd name="T13" fmla="*/ 24 h 482"/>
                <a:gd name="T14" fmla="*/ 518 w 518"/>
                <a:gd name="T15" fmla="*/ 458 h 482"/>
                <a:gd name="T16" fmla="*/ 494 w 518"/>
                <a:gd name="T17" fmla="*/ 48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8" h="482">
                  <a:moveTo>
                    <a:pt x="494" y="482"/>
                  </a:moveTo>
                  <a:cubicBezTo>
                    <a:pt x="24" y="482"/>
                    <a:pt x="24" y="482"/>
                    <a:pt x="24" y="482"/>
                  </a:cubicBezTo>
                  <a:cubicBezTo>
                    <a:pt x="11" y="482"/>
                    <a:pt x="0" y="471"/>
                    <a:pt x="0" y="45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507" y="0"/>
                    <a:pt x="518" y="10"/>
                    <a:pt x="518" y="24"/>
                  </a:cubicBezTo>
                  <a:cubicBezTo>
                    <a:pt x="518" y="458"/>
                    <a:pt x="518" y="458"/>
                    <a:pt x="518" y="458"/>
                  </a:cubicBezTo>
                  <a:cubicBezTo>
                    <a:pt x="518" y="471"/>
                    <a:pt x="507" y="482"/>
                    <a:pt x="494" y="482"/>
                  </a:cubicBezTo>
                  <a:close/>
                </a:path>
              </a:pathLst>
            </a:custGeom>
            <a:noFill/>
            <a:ln w="23813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67735C9A-0A63-47F3-B980-17B6E5BF38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4" y="1693"/>
              <a:ext cx="523" cy="444"/>
            </a:xfrm>
            <a:custGeom>
              <a:avLst/>
              <a:gdLst>
                <a:gd name="T0" fmla="*/ 24 w 292"/>
                <a:gd name="T1" fmla="*/ 248 h 248"/>
                <a:gd name="T2" fmla="*/ 268 w 292"/>
                <a:gd name="T3" fmla="*/ 248 h 248"/>
                <a:gd name="T4" fmla="*/ 292 w 292"/>
                <a:gd name="T5" fmla="*/ 224 h 248"/>
                <a:gd name="T6" fmla="*/ 292 w 292"/>
                <a:gd name="T7" fmla="*/ 24 h 248"/>
                <a:gd name="T8" fmla="*/ 268 w 292"/>
                <a:gd name="T9" fmla="*/ 0 h 248"/>
                <a:gd name="T10" fmla="*/ 24 w 292"/>
                <a:gd name="T11" fmla="*/ 0 h 248"/>
                <a:gd name="T12" fmla="*/ 0 w 292"/>
                <a:gd name="T13" fmla="*/ 24 h 248"/>
                <a:gd name="T14" fmla="*/ 0 w 292"/>
                <a:gd name="T15" fmla="*/ 224 h 248"/>
                <a:gd name="T16" fmla="*/ 24 w 292"/>
                <a:gd name="T17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2" h="248">
                  <a:moveTo>
                    <a:pt x="24" y="248"/>
                  </a:moveTo>
                  <a:cubicBezTo>
                    <a:pt x="268" y="248"/>
                    <a:pt x="268" y="248"/>
                    <a:pt x="268" y="248"/>
                  </a:cubicBezTo>
                  <a:cubicBezTo>
                    <a:pt x="281" y="248"/>
                    <a:pt x="292" y="238"/>
                    <a:pt x="292" y="224"/>
                  </a:cubicBezTo>
                  <a:cubicBezTo>
                    <a:pt x="292" y="24"/>
                    <a:pt x="292" y="24"/>
                    <a:pt x="292" y="24"/>
                  </a:cubicBezTo>
                  <a:cubicBezTo>
                    <a:pt x="292" y="11"/>
                    <a:pt x="281" y="0"/>
                    <a:pt x="26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8"/>
                    <a:pt x="11" y="248"/>
                    <a:pt x="24" y="24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6DAFB3AB-B173-4261-A0BB-06CD5E907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4" y="1827"/>
              <a:ext cx="242" cy="163"/>
            </a:xfrm>
            <a:custGeom>
              <a:avLst/>
              <a:gdLst>
                <a:gd name="T0" fmla="*/ 242 w 242"/>
                <a:gd name="T1" fmla="*/ 163 h 163"/>
                <a:gd name="T2" fmla="*/ 36 w 242"/>
                <a:gd name="T3" fmla="*/ 163 h 163"/>
                <a:gd name="T4" fmla="*/ 0 w 242"/>
                <a:gd name="T5" fmla="*/ 163 h 163"/>
                <a:gd name="T6" fmla="*/ 0 w 242"/>
                <a:gd name="T7" fmla="*/ 0 h 163"/>
                <a:gd name="T8" fmla="*/ 242 w 242"/>
                <a:gd name="T9" fmla="*/ 0 h 163"/>
                <a:gd name="T10" fmla="*/ 242 w 242"/>
                <a:gd name="T11" fmla="*/ 42 h 163"/>
                <a:gd name="T12" fmla="*/ 242 w 242"/>
                <a:gd name="T13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2" h="163">
                  <a:moveTo>
                    <a:pt x="242" y="163"/>
                  </a:moveTo>
                  <a:lnTo>
                    <a:pt x="36" y="163"/>
                  </a:lnTo>
                  <a:lnTo>
                    <a:pt x="0" y="163"/>
                  </a:lnTo>
                  <a:lnTo>
                    <a:pt x="0" y="0"/>
                  </a:lnTo>
                  <a:lnTo>
                    <a:pt x="242" y="0"/>
                  </a:lnTo>
                  <a:lnTo>
                    <a:pt x="242" y="42"/>
                  </a:lnTo>
                  <a:lnTo>
                    <a:pt x="242" y="163"/>
                  </a:ln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id="{0741E238-C5F0-4933-B4DF-2481030E7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4" y="1827"/>
              <a:ext cx="242" cy="95"/>
            </a:xfrm>
            <a:custGeom>
              <a:avLst/>
              <a:gdLst>
                <a:gd name="T0" fmla="*/ 0 w 242"/>
                <a:gd name="T1" fmla="*/ 0 h 95"/>
                <a:gd name="T2" fmla="*/ 120 w 242"/>
                <a:gd name="T3" fmla="*/ 95 h 95"/>
                <a:gd name="T4" fmla="*/ 242 w 242"/>
                <a:gd name="T5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2" h="95">
                  <a:moveTo>
                    <a:pt x="0" y="0"/>
                  </a:moveTo>
                  <a:lnTo>
                    <a:pt x="120" y="95"/>
                  </a:lnTo>
                  <a:lnTo>
                    <a:pt x="242" y="0"/>
                  </a:lnTo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id="{D226B601-B1CA-42CD-8D8E-602C97969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" y="2232"/>
              <a:ext cx="884" cy="781"/>
            </a:xfrm>
            <a:custGeom>
              <a:avLst/>
              <a:gdLst>
                <a:gd name="T0" fmla="*/ 471 w 494"/>
                <a:gd name="T1" fmla="*/ 436 h 436"/>
                <a:gd name="T2" fmla="*/ 23 w 494"/>
                <a:gd name="T3" fmla="*/ 436 h 436"/>
                <a:gd name="T4" fmla="*/ 0 w 494"/>
                <a:gd name="T5" fmla="*/ 413 h 436"/>
                <a:gd name="T6" fmla="*/ 0 w 494"/>
                <a:gd name="T7" fmla="*/ 23 h 436"/>
                <a:gd name="T8" fmla="*/ 23 w 494"/>
                <a:gd name="T9" fmla="*/ 0 h 436"/>
                <a:gd name="T10" fmla="*/ 471 w 494"/>
                <a:gd name="T11" fmla="*/ 0 h 436"/>
                <a:gd name="T12" fmla="*/ 494 w 494"/>
                <a:gd name="T13" fmla="*/ 23 h 436"/>
                <a:gd name="T14" fmla="*/ 494 w 494"/>
                <a:gd name="T15" fmla="*/ 413 h 436"/>
                <a:gd name="T16" fmla="*/ 471 w 494"/>
                <a:gd name="T17" fmla="*/ 436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4" h="436">
                  <a:moveTo>
                    <a:pt x="471" y="436"/>
                  </a:moveTo>
                  <a:cubicBezTo>
                    <a:pt x="23" y="436"/>
                    <a:pt x="23" y="436"/>
                    <a:pt x="23" y="436"/>
                  </a:cubicBezTo>
                  <a:cubicBezTo>
                    <a:pt x="11" y="436"/>
                    <a:pt x="0" y="426"/>
                    <a:pt x="0" y="4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1" y="0"/>
                    <a:pt x="23" y="0"/>
                  </a:cubicBezTo>
                  <a:cubicBezTo>
                    <a:pt x="471" y="0"/>
                    <a:pt x="471" y="0"/>
                    <a:pt x="471" y="0"/>
                  </a:cubicBezTo>
                  <a:cubicBezTo>
                    <a:pt x="484" y="0"/>
                    <a:pt x="494" y="10"/>
                    <a:pt x="494" y="23"/>
                  </a:cubicBezTo>
                  <a:cubicBezTo>
                    <a:pt x="494" y="413"/>
                    <a:pt x="494" y="413"/>
                    <a:pt x="494" y="413"/>
                  </a:cubicBezTo>
                  <a:cubicBezTo>
                    <a:pt x="494" y="426"/>
                    <a:pt x="484" y="436"/>
                    <a:pt x="471" y="4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04B636D2-D14B-4F28-8E60-604A88B86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" y="2232"/>
              <a:ext cx="884" cy="781"/>
            </a:xfrm>
            <a:custGeom>
              <a:avLst/>
              <a:gdLst>
                <a:gd name="T0" fmla="*/ 471 w 494"/>
                <a:gd name="T1" fmla="*/ 436 h 436"/>
                <a:gd name="T2" fmla="*/ 23 w 494"/>
                <a:gd name="T3" fmla="*/ 436 h 436"/>
                <a:gd name="T4" fmla="*/ 0 w 494"/>
                <a:gd name="T5" fmla="*/ 413 h 436"/>
                <a:gd name="T6" fmla="*/ 0 w 494"/>
                <a:gd name="T7" fmla="*/ 23 h 436"/>
                <a:gd name="T8" fmla="*/ 23 w 494"/>
                <a:gd name="T9" fmla="*/ 0 h 436"/>
                <a:gd name="T10" fmla="*/ 471 w 494"/>
                <a:gd name="T11" fmla="*/ 0 h 436"/>
                <a:gd name="T12" fmla="*/ 494 w 494"/>
                <a:gd name="T13" fmla="*/ 23 h 436"/>
                <a:gd name="T14" fmla="*/ 494 w 494"/>
                <a:gd name="T15" fmla="*/ 413 h 436"/>
                <a:gd name="T16" fmla="*/ 471 w 494"/>
                <a:gd name="T17" fmla="*/ 436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4" h="436">
                  <a:moveTo>
                    <a:pt x="471" y="436"/>
                  </a:moveTo>
                  <a:cubicBezTo>
                    <a:pt x="23" y="436"/>
                    <a:pt x="23" y="436"/>
                    <a:pt x="23" y="436"/>
                  </a:cubicBezTo>
                  <a:cubicBezTo>
                    <a:pt x="11" y="436"/>
                    <a:pt x="0" y="426"/>
                    <a:pt x="0" y="4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1" y="0"/>
                    <a:pt x="23" y="0"/>
                  </a:cubicBezTo>
                  <a:cubicBezTo>
                    <a:pt x="471" y="0"/>
                    <a:pt x="471" y="0"/>
                    <a:pt x="471" y="0"/>
                  </a:cubicBezTo>
                  <a:cubicBezTo>
                    <a:pt x="484" y="0"/>
                    <a:pt x="494" y="10"/>
                    <a:pt x="494" y="23"/>
                  </a:cubicBezTo>
                  <a:cubicBezTo>
                    <a:pt x="494" y="413"/>
                    <a:pt x="494" y="413"/>
                    <a:pt x="494" y="413"/>
                  </a:cubicBezTo>
                  <a:cubicBezTo>
                    <a:pt x="494" y="426"/>
                    <a:pt x="484" y="436"/>
                    <a:pt x="471" y="436"/>
                  </a:cubicBezTo>
                  <a:close/>
                </a:path>
              </a:pathLst>
            </a:custGeom>
            <a:noFill/>
            <a:ln w="23813" cap="flat">
              <a:solidFill>
                <a:schemeClr val="bg1">
                  <a:lumMod val="8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28C3E851-0857-41A3-8751-76905ECA5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6" y="2366"/>
              <a:ext cx="512" cy="497"/>
            </a:xfrm>
            <a:custGeom>
              <a:avLst/>
              <a:gdLst>
                <a:gd name="T0" fmla="*/ 259 w 286"/>
                <a:gd name="T1" fmla="*/ 277 h 277"/>
                <a:gd name="T2" fmla="*/ 27 w 286"/>
                <a:gd name="T3" fmla="*/ 277 h 277"/>
                <a:gd name="T4" fmla="*/ 0 w 286"/>
                <a:gd name="T5" fmla="*/ 251 h 277"/>
                <a:gd name="T6" fmla="*/ 0 w 286"/>
                <a:gd name="T7" fmla="*/ 26 h 277"/>
                <a:gd name="T8" fmla="*/ 27 w 286"/>
                <a:gd name="T9" fmla="*/ 0 h 277"/>
                <a:gd name="T10" fmla="*/ 259 w 286"/>
                <a:gd name="T11" fmla="*/ 0 h 277"/>
                <a:gd name="T12" fmla="*/ 286 w 286"/>
                <a:gd name="T13" fmla="*/ 26 h 277"/>
                <a:gd name="T14" fmla="*/ 286 w 286"/>
                <a:gd name="T15" fmla="*/ 251 h 277"/>
                <a:gd name="T16" fmla="*/ 259 w 286"/>
                <a:gd name="T17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6" h="277">
                  <a:moveTo>
                    <a:pt x="259" y="277"/>
                  </a:moveTo>
                  <a:cubicBezTo>
                    <a:pt x="27" y="277"/>
                    <a:pt x="27" y="277"/>
                    <a:pt x="27" y="277"/>
                  </a:cubicBezTo>
                  <a:cubicBezTo>
                    <a:pt x="12" y="277"/>
                    <a:pt x="0" y="265"/>
                    <a:pt x="0" y="25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274" y="0"/>
                    <a:pt x="286" y="12"/>
                    <a:pt x="286" y="26"/>
                  </a:cubicBezTo>
                  <a:cubicBezTo>
                    <a:pt x="286" y="251"/>
                    <a:pt x="286" y="251"/>
                    <a:pt x="286" y="251"/>
                  </a:cubicBezTo>
                  <a:cubicBezTo>
                    <a:pt x="286" y="265"/>
                    <a:pt x="274" y="277"/>
                    <a:pt x="259" y="27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4331F894-6254-487D-A19B-2DEA1A0036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6" y="2461"/>
              <a:ext cx="317" cy="317"/>
            </a:xfrm>
            <a:custGeom>
              <a:avLst/>
              <a:gdLst>
                <a:gd name="T0" fmla="*/ 32 w 177"/>
                <a:gd name="T1" fmla="*/ 31 h 177"/>
                <a:gd name="T2" fmla="*/ 32 w 177"/>
                <a:gd name="T3" fmla="*/ 145 h 177"/>
                <a:gd name="T4" fmla="*/ 146 w 177"/>
                <a:gd name="T5" fmla="*/ 145 h 177"/>
                <a:gd name="T6" fmla="*/ 146 w 177"/>
                <a:gd name="T7" fmla="*/ 31 h 177"/>
                <a:gd name="T8" fmla="*/ 32 w 177"/>
                <a:gd name="T9" fmla="*/ 31 h 177"/>
                <a:gd name="T10" fmla="*/ 146 w 177"/>
                <a:gd name="T11" fmla="*/ 43 h 177"/>
                <a:gd name="T12" fmla="*/ 120 w 177"/>
                <a:gd name="T13" fmla="*/ 43 h 177"/>
                <a:gd name="T14" fmla="*/ 110 w 177"/>
                <a:gd name="T15" fmla="*/ 19 h 177"/>
                <a:gd name="T16" fmla="*/ 146 w 177"/>
                <a:gd name="T17" fmla="*/ 43 h 177"/>
                <a:gd name="T18" fmla="*/ 59 w 177"/>
                <a:gd name="T19" fmla="*/ 83 h 177"/>
                <a:gd name="T20" fmla="*/ 63 w 177"/>
                <a:gd name="T21" fmla="*/ 52 h 177"/>
                <a:gd name="T22" fmla="*/ 115 w 177"/>
                <a:gd name="T23" fmla="*/ 52 h 177"/>
                <a:gd name="T24" fmla="*/ 118 w 177"/>
                <a:gd name="T25" fmla="*/ 83 h 177"/>
                <a:gd name="T26" fmla="*/ 59 w 177"/>
                <a:gd name="T27" fmla="*/ 83 h 177"/>
                <a:gd name="T28" fmla="*/ 118 w 177"/>
                <a:gd name="T29" fmla="*/ 93 h 177"/>
                <a:gd name="T30" fmla="*/ 112 w 177"/>
                <a:gd name="T31" fmla="*/ 124 h 177"/>
                <a:gd name="T32" fmla="*/ 65 w 177"/>
                <a:gd name="T33" fmla="*/ 124 h 177"/>
                <a:gd name="T34" fmla="*/ 59 w 177"/>
                <a:gd name="T35" fmla="*/ 93 h 177"/>
                <a:gd name="T36" fmla="*/ 118 w 177"/>
                <a:gd name="T37" fmla="*/ 93 h 177"/>
                <a:gd name="T38" fmla="*/ 89 w 177"/>
                <a:gd name="T39" fmla="*/ 15 h 177"/>
                <a:gd name="T40" fmla="*/ 100 w 177"/>
                <a:gd name="T41" fmla="*/ 16 h 177"/>
                <a:gd name="T42" fmla="*/ 112 w 177"/>
                <a:gd name="T43" fmla="*/ 43 h 177"/>
                <a:gd name="T44" fmla="*/ 66 w 177"/>
                <a:gd name="T45" fmla="*/ 43 h 177"/>
                <a:gd name="T46" fmla="*/ 77 w 177"/>
                <a:gd name="T47" fmla="*/ 16 h 177"/>
                <a:gd name="T48" fmla="*/ 89 w 177"/>
                <a:gd name="T49" fmla="*/ 15 h 177"/>
                <a:gd name="T50" fmla="*/ 68 w 177"/>
                <a:gd name="T51" fmla="*/ 19 h 177"/>
                <a:gd name="T52" fmla="*/ 58 w 177"/>
                <a:gd name="T53" fmla="*/ 43 h 177"/>
                <a:gd name="T54" fmla="*/ 32 w 177"/>
                <a:gd name="T55" fmla="*/ 43 h 177"/>
                <a:gd name="T56" fmla="*/ 68 w 177"/>
                <a:gd name="T57" fmla="*/ 19 h 177"/>
                <a:gd name="T58" fmla="*/ 25 w 177"/>
                <a:gd name="T59" fmla="*/ 52 h 177"/>
                <a:gd name="T60" fmla="*/ 55 w 177"/>
                <a:gd name="T61" fmla="*/ 52 h 177"/>
                <a:gd name="T62" fmla="*/ 51 w 177"/>
                <a:gd name="T63" fmla="*/ 83 h 177"/>
                <a:gd name="T64" fmla="*/ 16 w 177"/>
                <a:gd name="T65" fmla="*/ 83 h 177"/>
                <a:gd name="T66" fmla="*/ 25 w 177"/>
                <a:gd name="T67" fmla="*/ 52 h 177"/>
                <a:gd name="T68" fmla="*/ 25 w 177"/>
                <a:gd name="T69" fmla="*/ 124 h 177"/>
                <a:gd name="T70" fmla="*/ 16 w 177"/>
                <a:gd name="T71" fmla="*/ 93 h 177"/>
                <a:gd name="T72" fmla="*/ 51 w 177"/>
                <a:gd name="T73" fmla="*/ 93 h 177"/>
                <a:gd name="T74" fmla="*/ 56 w 177"/>
                <a:gd name="T75" fmla="*/ 124 h 177"/>
                <a:gd name="T76" fmla="*/ 25 w 177"/>
                <a:gd name="T77" fmla="*/ 124 h 177"/>
                <a:gd name="T78" fmla="*/ 32 w 177"/>
                <a:gd name="T79" fmla="*/ 134 h 177"/>
                <a:gd name="T80" fmla="*/ 59 w 177"/>
                <a:gd name="T81" fmla="*/ 134 h 177"/>
                <a:gd name="T82" fmla="*/ 69 w 177"/>
                <a:gd name="T83" fmla="*/ 158 h 177"/>
                <a:gd name="T84" fmla="*/ 32 w 177"/>
                <a:gd name="T85" fmla="*/ 134 h 177"/>
                <a:gd name="T86" fmla="*/ 89 w 177"/>
                <a:gd name="T87" fmla="*/ 161 h 177"/>
                <a:gd name="T88" fmla="*/ 79 w 177"/>
                <a:gd name="T89" fmla="*/ 160 h 177"/>
                <a:gd name="T90" fmla="*/ 68 w 177"/>
                <a:gd name="T91" fmla="*/ 134 h 177"/>
                <a:gd name="T92" fmla="*/ 110 w 177"/>
                <a:gd name="T93" fmla="*/ 134 h 177"/>
                <a:gd name="T94" fmla="*/ 98 w 177"/>
                <a:gd name="T95" fmla="*/ 160 h 177"/>
                <a:gd name="T96" fmla="*/ 89 w 177"/>
                <a:gd name="T97" fmla="*/ 161 h 177"/>
                <a:gd name="T98" fmla="*/ 109 w 177"/>
                <a:gd name="T99" fmla="*/ 158 h 177"/>
                <a:gd name="T100" fmla="*/ 119 w 177"/>
                <a:gd name="T101" fmla="*/ 134 h 177"/>
                <a:gd name="T102" fmla="*/ 146 w 177"/>
                <a:gd name="T103" fmla="*/ 134 h 177"/>
                <a:gd name="T104" fmla="*/ 109 w 177"/>
                <a:gd name="T105" fmla="*/ 158 h 177"/>
                <a:gd name="T106" fmla="*/ 152 w 177"/>
                <a:gd name="T107" fmla="*/ 124 h 177"/>
                <a:gd name="T108" fmla="*/ 122 w 177"/>
                <a:gd name="T109" fmla="*/ 124 h 177"/>
                <a:gd name="T110" fmla="*/ 127 w 177"/>
                <a:gd name="T111" fmla="*/ 93 h 177"/>
                <a:gd name="T112" fmla="*/ 161 w 177"/>
                <a:gd name="T113" fmla="*/ 93 h 177"/>
                <a:gd name="T114" fmla="*/ 152 w 177"/>
                <a:gd name="T115" fmla="*/ 124 h 177"/>
                <a:gd name="T116" fmla="*/ 161 w 177"/>
                <a:gd name="T117" fmla="*/ 83 h 177"/>
                <a:gd name="T118" fmla="*/ 127 w 177"/>
                <a:gd name="T119" fmla="*/ 83 h 177"/>
                <a:gd name="T120" fmla="*/ 123 w 177"/>
                <a:gd name="T121" fmla="*/ 52 h 177"/>
                <a:gd name="T122" fmla="*/ 152 w 177"/>
                <a:gd name="T123" fmla="*/ 52 h 177"/>
                <a:gd name="T124" fmla="*/ 161 w 177"/>
                <a:gd name="T125" fmla="*/ 83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" h="177">
                  <a:moveTo>
                    <a:pt x="32" y="31"/>
                  </a:moveTo>
                  <a:cubicBezTo>
                    <a:pt x="0" y="62"/>
                    <a:pt x="0" y="114"/>
                    <a:pt x="32" y="145"/>
                  </a:cubicBezTo>
                  <a:cubicBezTo>
                    <a:pt x="63" y="177"/>
                    <a:pt x="114" y="177"/>
                    <a:pt x="146" y="145"/>
                  </a:cubicBezTo>
                  <a:cubicBezTo>
                    <a:pt x="177" y="114"/>
                    <a:pt x="177" y="62"/>
                    <a:pt x="146" y="31"/>
                  </a:cubicBezTo>
                  <a:cubicBezTo>
                    <a:pt x="114" y="0"/>
                    <a:pt x="63" y="0"/>
                    <a:pt x="32" y="31"/>
                  </a:cubicBezTo>
                  <a:close/>
                  <a:moveTo>
                    <a:pt x="146" y="43"/>
                  </a:moveTo>
                  <a:cubicBezTo>
                    <a:pt x="120" y="43"/>
                    <a:pt x="120" y="43"/>
                    <a:pt x="120" y="43"/>
                  </a:cubicBezTo>
                  <a:cubicBezTo>
                    <a:pt x="117" y="35"/>
                    <a:pt x="114" y="27"/>
                    <a:pt x="110" y="19"/>
                  </a:cubicBezTo>
                  <a:cubicBezTo>
                    <a:pt x="124" y="23"/>
                    <a:pt x="137" y="31"/>
                    <a:pt x="146" y="43"/>
                  </a:cubicBezTo>
                  <a:close/>
                  <a:moveTo>
                    <a:pt x="59" y="83"/>
                  </a:moveTo>
                  <a:cubicBezTo>
                    <a:pt x="59" y="73"/>
                    <a:pt x="60" y="63"/>
                    <a:pt x="63" y="52"/>
                  </a:cubicBezTo>
                  <a:cubicBezTo>
                    <a:pt x="115" y="52"/>
                    <a:pt x="115" y="52"/>
                    <a:pt x="115" y="52"/>
                  </a:cubicBezTo>
                  <a:cubicBezTo>
                    <a:pt x="117" y="63"/>
                    <a:pt x="118" y="73"/>
                    <a:pt x="118" y="83"/>
                  </a:cubicBezTo>
                  <a:lnTo>
                    <a:pt x="59" y="83"/>
                  </a:lnTo>
                  <a:close/>
                  <a:moveTo>
                    <a:pt x="118" y="93"/>
                  </a:moveTo>
                  <a:cubicBezTo>
                    <a:pt x="117" y="103"/>
                    <a:pt x="115" y="114"/>
                    <a:pt x="112" y="124"/>
                  </a:cubicBezTo>
                  <a:cubicBezTo>
                    <a:pt x="65" y="124"/>
                    <a:pt x="65" y="124"/>
                    <a:pt x="65" y="124"/>
                  </a:cubicBezTo>
                  <a:cubicBezTo>
                    <a:pt x="62" y="114"/>
                    <a:pt x="60" y="103"/>
                    <a:pt x="59" y="93"/>
                  </a:cubicBezTo>
                  <a:lnTo>
                    <a:pt x="118" y="93"/>
                  </a:lnTo>
                  <a:close/>
                  <a:moveTo>
                    <a:pt x="89" y="15"/>
                  </a:moveTo>
                  <a:cubicBezTo>
                    <a:pt x="93" y="15"/>
                    <a:pt x="96" y="16"/>
                    <a:pt x="100" y="16"/>
                  </a:cubicBezTo>
                  <a:cubicBezTo>
                    <a:pt x="105" y="25"/>
                    <a:pt x="109" y="34"/>
                    <a:pt x="112" y="4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9" y="34"/>
                    <a:pt x="72" y="25"/>
                    <a:pt x="77" y="16"/>
                  </a:cubicBezTo>
                  <a:cubicBezTo>
                    <a:pt x="81" y="16"/>
                    <a:pt x="85" y="15"/>
                    <a:pt x="89" y="15"/>
                  </a:cubicBezTo>
                  <a:close/>
                  <a:moveTo>
                    <a:pt x="68" y="19"/>
                  </a:moveTo>
                  <a:cubicBezTo>
                    <a:pt x="63" y="27"/>
                    <a:pt x="60" y="35"/>
                    <a:pt x="58" y="43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41" y="31"/>
                    <a:pt x="53" y="23"/>
                    <a:pt x="68" y="19"/>
                  </a:cubicBezTo>
                  <a:close/>
                  <a:moveTo>
                    <a:pt x="25" y="52"/>
                  </a:moveTo>
                  <a:cubicBezTo>
                    <a:pt x="55" y="52"/>
                    <a:pt x="55" y="52"/>
                    <a:pt x="55" y="52"/>
                  </a:cubicBezTo>
                  <a:cubicBezTo>
                    <a:pt x="52" y="63"/>
                    <a:pt x="51" y="73"/>
                    <a:pt x="51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7" y="72"/>
                    <a:pt x="20" y="62"/>
                    <a:pt x="25" y="52"/>
                  </a:cubicBezTo>
                  <a:close/>
                  <a:moveTo>
                    <a:pt x="25" y="124"/>
                  </a:moveTo>
                  <a:cubicBezTo>
                    <a:pt x="20" y="115"/>
                    <a:pt x="17" y="104"/>
                    <a:pt x="16" y="93"/>
                  </a:cubicBezTo>
                  <a:cubicBezTo>
                    <a:pt x="51" y="93"/>
                    <a:pt x="51" y="93"/>
                    <a:pt x="51" y="93"/>
                  </a:cubicBezTo>
                  <a:cubicBezTo>
                    <a:pt x="51" y="103"/>
                    <a:pt x="53" y="114"/>
                    <a:pt x="56" y="124"/>
                  </a:cubicBezTo>
                  <a:lnTo>
                    <a:pt x="25" y="124"/>
                  </a:lnTo>
                  <a:close/>
                  <a:moveTo>
                    <a:pt x="32" y="134"/>
                  </a:moveTo>
                  <a:cubicBezTo>
                    <a:pt x="59" y="134"/>
                    <a:pt x="59" y="134"/>
                    <a:pt x="59" y="134"/>
                  </a:cubicBezTo>
                  <a:cubicBezTo>
                    <a:pt x="61" y="142"/>
                    <a:pt x="65" y="150"/>
                    <a:pt x="69" y="158"/>
                  </a:cubicBezTo>
                  <a:cubicBezTo>
                    <a:pt x="54" y="154"/>
                    <a:pt x="41" y="145"/>
                    <a:pt x="32" y="134"/>
                  </a:cubicBezTo>
                  <a:close/>
                  <a:moveTo>
                    <a:pt x="89" y="161"/>
                  </a:moveTo>
                  <a:cubicBezTo>
                    <a:pt x="85" y="161"/>
                    <a:pt x="82" y="161"/>
                    <a:pt x="79" y="160"/>
                  </a:cubicBezTo>
                  <a:cubicBezTo>
                    <a:pt x="75" y="151"/>
                    <a:pt x="71" y="143"/>
                    <a:pt x="68" y="134"/>
                  </a:cubicBezTo>
                  <a:cubicBezTo>
                    <a:pt x="110" y="134"/>
                    <a:pt x="110" y="134"/>
                    <a:pt x="110" y="134"/>
                  </a:cubicBezTo>
                  <a:cubicBezTo>
                    <a:pt x="106" y="143"/>
                    <a:pt x="103" y="151"/>
                    <a:pt x="98" y="160"/>
                  </a:cubicBezTo>
                  <a:cubicBezTo>
                    <a:pt x="95" y="161"/>
                    <a:pt x="92" y="161"/>
                    <a:pt x="89" y="161"/>
                  </a:cubicBezTo>
                  <a:close/>
                  <a:moveTo>
                    <a:pt x="109" y="158"/>
                  </a:moveTo>
                  <a:cubicBezTo>
                    <a:pt x="113" y="150"/>
                    <a:pt x="116" y="142"/>
                    <a:pt x="119" y="134"/>
                  </a:cubicBezTo>
                  <a:cubicBezTo>
                    <a:pt x="146" y="134"/>
                    <a:pt x="146" y="134"/>
                    <a:pt x="146" y="134"/>
                  </a:cubicBezTo>
                  <a:cubicBezTo>
                    <a:pt x="136" y="145"/>
                    <a:pt x="124" y="154"/>
                    <a:pt x="109" y="158"/>
                  </a:cubicBezTo>
                  <a:close/>
                  <a:moveTo>
                    <a:pt x="152" y="124"/>
                  </a:moveTo>
                  <a:cubicBezTo>
                    <a:pt x="122" y="124"/>
                    <a:pt x="122" y="124"/>
                    <a:pt x="122" y="124"/>
                  </a:cubicBezTo>
                  <a:cubicBezTo>
                    <a:pt x="124" y="114"/>
                    <a:pt x="126" y="103"/>
                    <a:pt x="127" y="93"/>
                  </a:cubicBezTo>
                  <a:cubicBezTo>
                    <a:pt x="161" y="93"/>
                    <a:pt x="161" y="93"/>
                    <a:pt x="161" y="93"/>
                  </a:cubicBezTo>
                  <a:cubicBezTo>
                    <a:pt x="161" y="104"/>
                    <a:pt x="157" y="115"/>
                    <a:pt x="152" y="124"/>
                  </a:cubicBezTo>
                  <a:close/>
                  <a:moveTo>
                    <a:pt x="161" y="83"/>
                  </a:moveTo>
                  <a:cubicBezTo>
                    <a:pt x="127" y="83"/>
                    <a:pt x="127" y="83"/>
                    <a:pt x="127" y="83"/>
                  </a:cubicBezTo>
                  <a:cubicBezTo>
                    <a:pt x="126" y="73"/>
                    <a:pt x="125" y="63"/>
                    <a:pt x="123" y="52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57" y="62"/>
                    <a:pt x="161" y="72"/>
                    <a:pt x="161" y="8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20">
              <a:extLst>
                <a:ext uri="{FF2B5EF4-FFF2-40B4-BE49-F238E27FC236}">
                  <a16:creationId xmlns:a16="http://schemas.microsoft.com/office/drawing/2014/main" id="{94D7ED3F-0819-4394-99C9-144FE882D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5" y="1079"/>
              <a:ext cx="778" cy="55"/>
            </a:xfrm>
            <a:custGeom>
              <a:avLst/>
              <a:gdLst>
                <a:gd name="T0" fmla="*/ 420 w 435"/>
                <a:gd name="T1" fmla="*/ 31 h 31"/>
                <a:gd name="T2" fmla="*/ 15 w 435"/>
                <a:gd name="T3" fmla="*/ 31 h 31"/>
                <a:gd name="T4" fmla="*/ 0 w 435"/>
                <a:gd name="T5" fmla="*/ 16 h 31"/>
                <a:gd name="T6" fmla="*/ 0 w 435"/>
                <a:gd name="T7" fmla="*/ 16 h 31"/>
                <a:gd name="T8" fmla="*/ 15 w 435"/>
                <a:gd name="T9" fmla="*/ 0 h 31"/>
                <a:gd name="T10" fmla="*/ 420 w 435"/>
                <a:gd name="T11" fmla="*/ 0 h 31"/>
                <a:gd name="T12" fmla="*/ 435 w 435"/>
                <a:gd name="T13" fmla="*/ 16 h 31"/>
                <a:gd name="T14" fmla="*/ 435 w 435"/>
                <a:gd name="T15" fmla="*/ 16 h 31"/>
                <a:gd name="T16" fmla="*/ 420 w 435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5" h="31">
                  <a:moveTo>
                    <a:pt x="420" y="31"/>
                  </a:moveTo>
                  <a:cubicBezTo>
                    <a:pt x="15" y="31"/>
                    <a:pt x="15" y="31"/>
                    <a:pt x="15" y="31"/>
                  </a:cubicBezTo>
                  <a:cubicBezTo>
                    <a:pt x="6" y="31"/>
                    <a:pt x="0" y="24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420" y="0"/>
                    <a:pt x="420" y="0"/>
                    <a:pt x="420" y="0"/>
                  </a:cubicBezTo>
                  <a:cubicBezTo>
                    <a:pt x="429" y="0"/>
                    <a:pt x="435" y="7"/>
                    <a:pt x="435" y="16"/>
                  </a:cubicBezTo>
                  <a:cubicBezTo>
                    <a:pt x="435" y="16"/>
                    <a:pt x="435" y="16"/>
                    <a:pt x="435" y="16"/>
                  </a:cubicBezTo>
                  <a:cubicBezTo>
                    <a:pt x="435" y="24"/>
                    <a:pt x="429" y="31"/>
                    <a:pt x="420" y="3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21">
              <a:extLst>
                <a:ext uri="{FF2B5EF4-FFF2-40B4-BE49-F238E27FC236}">
                  <a16:creationId xmlns:a16="http://schemas.microsoft.com/office/drawing/2014/main" id="{56F25199-33EE-41AA-9EDA-98D9C8764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" y="2854"/>
              <a:ext cx="408" cy="53"/>
            </a:xfrm>
            <a:custGeom>
              <a:avLst/>
              <a:gdLst>
                <a:gd name="T0" fmla="*/ 212 w 228"/>
                <a:gd name="T1" fmla="*/ 30 h 30"/>
                <a:gd name="T2" fmla="*/ 16 w 228"/>
                <a:gd name="T3" fmla="*/ 30 h 30"/>
                <a:gd name="T4" fmla="*/ 0 w 228"/>
                <a:gd name="T5" fmla="*/ 15 h 30"/>
                <a:gd name="T6" fmla="*/ 0 w 228"/>
                <a:gd name="T7" fmla="*/ 15 h 30"/>
                <a:gd name="T8" fmla="*/ 16 w 228"/>
                <a:gd name="T9" fmla="*/ 0 h 30"/>
                <a:gd name="T10" fmla="*/ 212 w 228"/>
                <a:gd name="T11" fmla="*/ 0 h 30"/>
                <a:gd name="T12" fmla="*/ 228 w 228"/>
                <a:gd name="T13" fmla="*/ 15 h 30"/>
                <a:gd name="T14" fmla="*/ 228 w 228"/>
                <a:gd name="T15" fmla="*/ 15 h 30"/>
                <a:gd name="T16" fmla="*/ 212 w 228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30">
                  <a:moveTo>
                    <a:pt x="212" y="30"/>
                  </a:moveTo>
                  <a:cubicBezTo>
                    <a:pt x="16" y="30"/>
                    <a:pt x="16" y="30"/>
                    <a:pt x="16" y="30"/>
                  </a:cubicBezTo>
                  <a:cubicBezTo>
                    <a:pt x="7" y="30"/>
                    <a:pt x="0" y="2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21" y="0"/>
                    <a:pt x="228" y="7"/>
                    <a:pt x="228" y="15"/>
                  </a:cubicBezTo>
                  <a:cubicBezTo>
                    <a:pt x="228" y="15"/>
                    <a:pt x="228" y="15"/>
                    <a:pt x="228" y="15"/>
                  </a:cubicBezTo>
                  <a:cubicBezTo>
                    <a:pt x="228" y="24"/>
                    <a:pt x="221" y="30"/>
                    <a:pt x="212" y="3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2">
              <a:extLst>
                <a:ext uri="{FF2B5EF4-FFF2-40B4-BE49-F238E27FC236}">
                  <a16:creationId xmlns:a16="http://schemas.microsoft.com/office/drawing/2014/main" id="{C598206F-26D7-482C-8A48-F54EC5FD3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4" y="3142"/>
              <a:ext cx="84" cy="81"/>
            </a:xfrm>
            <a:custGeom>
              <a:avLst/>
              <a:gdLst>
                <a:gd name="T0" fmla="*/ 36 w 47"/>
                <a:gd name="T1" fmla="*/ 45 h 45"/>
                <a:gd name="T2" fmla="*/ 11 w 47"/>
                <a:gd name="T3" fmla="*/ 45 h 45"/>
                <a:gd name="T4" fmla="*/ 0 w 47"/>
                <a:gd name="T5" fmla="*/ 34 h 45"/>
                <a:gd name="T6" fmla="*/ 0 w 47"/>
                <a:gd name="T7" fmla="*/ 11 h 45"/>
                <a:gd name="T8" fmla="*/ 11 w 47"/>
                <a:gd name="T9" fmla="*/ 0 h 45"/>
                <a:gd name="T10" fmla="*/ 36 w 47"/>
                <a:gd name="T11" fmla="*/ 0 h 45"/>
                <a:gd name="T12" fmla="*/ 47 w 47"/>
                <a:gd name="T13" fmla="*/ 11 h 45"/>
                <a:gd name="T14" fmla="*/ 47 w 47"/>
                <a:gd name="T15" fmla="*/ 34 h 45"/>
                <a:gd name="T16" fmla="*/ 36 w 4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45">
                  <a:moveTo>
                    <a:pt x="36" y="45"/>
                  </a:moveTo>
                  <a:cubicBezTo>
                    <a:pt x="11" y="45"/>
                    <a:pt x="11" y="45"/>
                    <a:pt x="11" y="45"/>
                  </a:cubicBezTo>
                  <a:cubicBezTo>
                    <a:pt x="5" y="45"/>
                    <a:pt x="0" y="40"/>
                    <a:pt x="0" y="3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2" y="0"/>
                    <a:pt x="47" y="5"/>
                    <a:pt x="47" y="11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40"/>
                    <a:pt x="42" y="45"/>
                    <a:pt x="36" y="4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3">
              <a:extLst>
                <a:ext uri="{FF2B5EF4-FFF2-40B4-BE49-F238E27FC236}">
                  <a16:creationId xmlns:a16="http://schemas.microsoft.com/office/drawing/2014/main" id="{94F0D638-7C5A-476F-A527-977FBDBFD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1" y="3330"/>
              <a:ext cx="84" cy="81"/>
            </a:xfrm>
            <a:custGeom>
              <a:avLst/>
              <a:gdLst>
                <a:gd name="T0" fmla="*/ 35 w 47"/>
                <a:gd name="T1" fmla="*/ 45 h 45"/>
                <a:gd name="T2" fmla="*/ 11 w 47"/>
                <a:gd name="T3" fmla="*/ 45 h 45"/>
                <a:gd name="T4" fmla="*/ 0 w 47"/>
                <a:gd name="T5" fmla="*/ 34 h 45"/>
                <a:gd name="T6" fmla="*/ 0 w 47"/>
                <a:gd name="T7" fmla="*/ 11 h 45"/>
                <a:gd name="T8" fmla="*/ 11 w 47"/>
                <a:gd name="T9" fmla="*/ 0 h 45"/>
                <a:gd name="T10" fmla="*/ 35 w 47"/>
                <a:gd name="T11" fmla="*/ 0 h 45"/>
                <a:gd name="T12" fmla="*/ 47 w 47"/>
                <a:gd name="T13" fmla="*/ 11 h 45"/>
                <a:gd name="T14" fmla="*/ 47 w 47"/>
                <a:gd name="T15" fmla="*/ 34 h 45"/>
                <a:gd name="T16" fmla="*/ 35 w 47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45">
                  <a:moveTo>
                    <a:pt x="35" y="45"/>
                  </a:moveTo>
                  <a:cubicBezTo>
                    <a:pt x="11" y="45"/>
                    <a:pt x="11" y="45"/>
                    <a:pt x="11" y="45"/>
                  </a:cubicBezTo>
                  <a:cubicBezTo>
                    <a:pt x="5" y="45"/>
                    <a:pt x="0" y="40"/>
                    <a:pt x="0" y="3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42" y="0"/>
                    <a:pt x="47" y="5"/>
                    <a:pt x="47" y="11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40"/>
                    <a:pt x="42" y="45"/>
                    <a:pt x="35" y="4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24">
              <a:extLst>
                <a:ext uri="{FF2B5EF4-FFF2-40B4-BE49-F238E27FC236}">
                  <a16:creationId xmlns:a16="http://schemas.microsoft.com/office/drawing/2014/main" id="{9E232F50-2C89-4808-8F1E-2F9DADC9B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2" y="887"/>
              <a:ext cx="760" cy="218"/>
            </a:xfrm>
            <a:custGeom>
              <a:avLst/>
              <a:gdLst>
                <a:gd name="T0" fmla="*/ 412 w 424"/>
                <a:gd name="T1" fmla="*/ 122 h 122"/>
                <a:gd name="T2" fmla="*/ 12 w 424"/>
                <a:gd name="T3" fmla="*/ 122 h 122"/>
                <a:gd name="T4" fmla="*/ 0 w 424"/>
                <a:gd name="T5" fmla="*/ 110 h 122"/>
                <a:gd name="T6" fmla="*/ 0 w 424"/>
                <a:gd name="T7" fmla="*/ 12 h 122"/>
                <a:gd name="T8" fmla="*/ 12 w 424"/>
                <a:gd name="T9" fmla="*/ 0 h 122"/>
                <a:gd name="T10" fmla="*/ 412 w 424"/>
                <a:gd name="T11" fmla="*/ 0 h 122"/>
                <a:gd name="T12" fmla="*/ 424 w 424"/>
                <a:gd name="T13" fmla="*/ 12 h 122"/>
                <a:gd name="T14" fmla="*/ 424 w 424"/>
                <a:gd name="T15" fmla="*/ 110 h 122"/>
                <a:gd name="T16" fmla="*/ 412 w 424"/>
                <a:gd name="T1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122">
                  <a:moveTo>
                    <a:pt x="412" y="122"/>
                  </a:moveTo>
                  <a:cubicBezTo>
                    <a:pt x="12" y="122"/>
                    <a:pt x="12" y="122"/>
                    <a:pt x="12" y="122"/>
                  </a:cubicBezTo>
                  <a:cubicBezTo>
                    <a:pt x="5" y="122"/>
                    <a:pt x="0" y="117"/>
                    <a:pt x="0" y="1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419" y="0"/>
                    <a:pt x="424" y="6"/>
                    <a:pt x="424" y="12"/>
                  </a:cubicBezTo>
                  <a:cubicBezTo>
                    <a:pt x="424" y="110"/>
                    <a:pt x="424" y="110"/>
                    <a:pt x="424" y="110"/>
                  </a:cubicBezTo>
                  <a:cubicBezTo>
                    <a:pt x="424" y="117"/>
                    <a:pt x="419" y="122"/>
                    <a:pt x="412" y="12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Line 25">
              <a:extLst>
                <a:ext uri="{FF2B5EF4-FFF2-40B4-BE49-F238E27FC236}">
                  <a16:creationId xmlns:a16="http://schemas.microsoft.com/office/drawing/2014/main" id="{7488AE71-4AE2-4E19-99B2-581978A6ED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16" y="966"/>
              <a:ext cx="511" cy="0"/>
            </a:xfrm>
            <a:prstGeom prst="line">
              <a:avLst/>
            </a:prstGeom>
            <a:noFill/>
            <a:ln w="142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Line 26">
              <a:extLst>
                <a:ext uri="{FF2B5EF4-FFF2-40B4-BE49-F238E27FC236}">
                  <a16:creationId xmlns:a16="http://schemas.microsoft.com/office/drawing/2014/main" id="{64BFFE97-4EBF-4EB0-B3AB-A492306B2C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16" y="1018"/>
              <a:ext cx="208" cy="0"/>
            </a:xfrm>
            <a:prstGeom prst="line">
              <a:avLst/>
            </a:prstGeom>
            <a:noFill/>
            <a:ln w="142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27">
              <a:extLst>
                <a:ext uri="{FF2B5EF4-FFF2-40B4-BE49-F238E27FC236}">
                  <a16:creationId xmlns:a16="http://schemas.microsoft.com/office/drawing/2014/main" id="{A27DE3E1-4B5D-4979-93E2-374909774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5" y="1080"/>
              <a:ext cx="107" cy="86"/>
            </a:xfrm>
            <a:custGeom>
              <a:avLst/>
              <a:gdLst>
                <a:gd name="T0" fmla="*/ 0 w 107"/>
                <a:gd name="T1" fmla="*/ 0 h 86"/>
                <a:gd name="T2" fmla="*/ 0 w 107"/>
                <a:gd name="T3" fmla="*/ 86 h 86"/>
                <a:gd name="T4" fmla="*/ 107 w 107"/>
                <a:gd name="T5" fmla="*/ 0 h 86"/>
                <a:gd name="T6" fmla="*/ 0 w 107"/>
                <a:gd name="T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86">
                  <a:moveTo>
                    <a:pt x="0" y="0"/>
                  </a:moveTo>
                  <a:lnTo>
                    <a:pt x="0" y="86"/>
                  </a:lnTo>
                  <a:lnTo>
                    <a:pt x="10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28">
              <a:extLst>
                <a:ext uri="{FF2B5EF4-FFF2-40B4-BE49-F238E27FC236}">
                  <a16:creationId xmlns:a16="http://schemas.microsoft.com/office/drawing/2014/main" id="{F1A6CCCF-4D6B-4651-890E-D0074D52B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" y="688"/>
              <a:ext cx="455" cy="430"/>
            </a:xfrm>
            <a:custGeom>
              <a:avLst/>
              <a:gdLst>
                <a:gd name="T0" fmla="*/ 228 w 254"/>
                <a:gd name="T1" fmla="*/ 240 h 240"/>
                <a:gd name="T2" fmla="*/ 34 w 254"/>
                <a:gd name="T3" fmla="*/ 240 h 240"/>
                <a:gd name="T4" fmla="*/ 0 w 254"/>
                <a:gd name="T5" fmla="*/ 206 h 240"/>
                <a:gd name="T6" fmla="*/ 0 w 254"/>
                <a:gd name="T7" fmla="*/ 26 h 240"/>
                <a:gd name="T8" fmla="*/ 26 w 254"/>
                <a:gd name="T9" fmla="*/ 0 h 240"/>
                <a:gd name="T10" fmla="*/ 228 w 254"/>
                <a:gd name="T11" fmla="*/ 0 h 240"/>
                <a:gd name="T12" fmla="*/ 254 w 254"/>
                <a:gd name="T13" fmla="*/ 26 h 240"/>
                <a:gd name="T14" fmla="*/ 254 w 254"/>
                <a:gd name="T15" fmla="*/ 214 h 240"/>
                <a:gd name="T16" fmla="*/ 228 w 254"/>
                <a:gd name="T17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4" h="240">
                  <a:moveTo>
                    <a:pt x="228" y="240"/>
                  </a:moveTo>
                  <a:cubicBezTo>
                    <a:pt x="34" y="240"/>
                    <a:pt x="34" y="240"/>
                    <a:pt x="34" y="240"/>
                  </a:cubicBezTo>
                  <a:cubicBezTo>
                    <a:pt x="15" y="240"/>
                    <a:pt x="0" y="225"/>
                    <a:pt x="0" y="20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228" y="0"/>
                    <a:pt x="228" y="0"/>
                    <a:pt x="228" y="0"/>
                  </a:cubicBezTo>
                  <a:cubicBezTo>
                    <a:pt x="242" y="0"/>
                    <a:pt x="254" y="12"/>
                    <a:pt x="254" y="26"/>
                  </a:cubicBezTo>
                  <a:cubicBezTo>
                    <a:pt x="254" y="214"/>
                    <a:pt x="254" y="214"/>
                    <a:pt x="254" y="214"/>
                  </a:cubicBezTo>
                  <a:cubicBezTo>
                    <a:pt x="254" y="229"/>
                    <a:pt x="242" y="240"/>
                    <a:pt x="228" y="24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0EA7C1EB-1D0E-478A-B16A-567CA7F11D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0" y="783"/>
              <a:ext cx="214" cy="213"/>
            </a:xfrm>
            <a:custGeom>
              <a:avLst/>
              <a:gdLst>
                <a:gd name="T0" fmla="*/ 100 w 119"/>
                <a:gd name="T1" fmla="*/ 71 h 119"/>
                <a:gd name="T2" fmla="*/ 81 w 119"/>
                <a:gd name="T3" fmla="*/ 70 h 119"/>
                <a:gd name="T4" fmla="*/ 71 w 119"/>
                <a:gd name="T5" fmla="*/ 78 h 119"/>
                <a:gd name="T6" fmla="*/ 47 w 119"/>
                <a:gd name="T7" fmla="*/ 57 h 119"/>
                <a:gd name="T8" fmla="*/ 46 w 119"/>
                <a:gd name="T9" fmla="*/ 41 h 119"/>
                <a:gd name="T10" fmla="*/ 53 w 119"/>
                <a:gd name="T11" fmla="*/ 29 h 119"/>
                <a:gd name="T12" fmla="*/ 41 w 119"/>
                <a:gd name="T13" fmla="*/ 12 h 119"/>
                <a:gd name="T14" fmla="*/ 34 w 119"/>
                <a:gd name="T15" fmla="*/ 5 h 119"/>
                <a:gd name="T16" fmla="*/ 16 w 119"/>
                <a:gd name="T17" fmla="*/ 5 h 119"/>
                <a:gd name="T18" fmla="*/ 1 w 119"/>
                <a:gd name="T19" fmla="*/ 26 h 119"/>
                <a:gd name="T20" fmla="*/ 24 w 119"/>
                <a:gd name="T21" fmla="*/ 80 h 119"/>
                <a:gd name="T22" fmla="*/ 89 w 119"/>
                <a:gd name="T23" fmla="*/ 119 h 119"/>
                <a:gd name="T24" fmla="*/ 106 w 119"/>
                <a:gd name="T25" fmla="*/ 112 h 119"/>
                <a:gd name="T26" fmla="*/ 111 w 119"/>
                <a:gd name="T27" fmla="*/ 107 h 119"/>
                <a:gd name="T28" fmla="*/ 114 w 119"/>
                <a:gd name="T29" fmla="*/ 85 h 119"/>
                <a:gd name="T30" fmla="*/ 105 w 119"/>
                <a:gd name="T31" fmla="*/ 102 h 119"/>
                <a:gd name="T32" fmla="*/ 91 w 119"/>
                <a:gd name="T33" fmla="*/ 111 h 119"/>
                <a:gd name="T34" fmla="*/ 69 w 119"/>
                <a:gd name="T35" fmla="*/ 104 h 119"/>
                <a:gd name="T36" fmla="*/ 12 w 119"/>
                <a:gd name="T37" fmla="*/ 43 h 119"/>
                <a:gd name="T38" fmla="*/ 12 w 119"/>
                <a:gd name="T39" fmla="*/ 19 h 119"/>
                <a:gd name="T40" fmla="*/ 25 w 119"/>
                <a:gd name="T41" fmla="*/ 9 h 119"/>
                <a:gd name="T42" fmla="*/ 33 w 119"/>
                <a:gd name="T43" fmla="*/ 15 h 119"/>
                <a:gd name="T44" fmla="*/ 43 w 119"/>
                <a:gd name="T45" fmla="*/ 25 h 119"/>
                <a:gd name="T46" fmla="*/ 43 w 119"/>
                <a:gd name="T47" fmla="*/ 32 h 119"/>
                <a:gd name="T48" fmla="*/ 34 w 119"/>
                <a:gd name="T49" fmla="*/ 41 h 119"/>
                <a:gd name="T50" fmla="*/ 32 w 119"/>
                <a:gd name="T51" fmla="*/ 48 h 119"/>
                <a:gd name="T52" fmla="*/ 41 w 119"/>
                <a:gd name="T53" fmla="*/ 62 h 119"/>
                <a:gd name="T54" fmla="*/ 68 w 119"/>
                <a:gd name="T55" fmla="*/ 85 h 119"/>
                <a:gd name="T56" fmla="*/ 70 w 119"/>
                <a:gd name="T57" fmla="*/ 87 h 119"/>
                <a:gd name="T58" fmla="*/ 87 w 119"/>
                <a:gd name="T59" fmla="*/ 77 h 119"/>
                <a:gd name="T60" fmla="*/ 94 w 119"/>
                <a:gd name="T61" fmla="*/ 77 h 119"/>
                <a:gd name="T62" fmla="*/ 108 w 119"/>
                <a:gd name="T63" fmla="*/ 9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9" h="119">
                  <a:moveTo>
                    <a:pt x="114" y="85"/>
                  </a:moveTo>
                  <a:cubicBezTo>
                    <a:pt x="100" y="71"/>
                    <a:pt x="100" y="71"/>
                    <a:pt x="100" y="71"/>
                  </a:cubicBezTo>
                  <a:cubicBezTo>
                    <a:pt x="97" y="68"/>
                    <a:pt x="94" y="66"/>
                    <a:pt x="90" y="66"/>
                  </a:cubicBezTo>
                  <a:cubicBezTo>
                    <a:pt x="87" y="66"/>
                    <a:pt x="84" y="68"/>
                    <a:pt x="81" y="70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72" y="78"/>
                    <a:pt x="72" y="78"/>
                    <a:pt x="71" y="78"/>
                  </a:cubicBezTo>
                  <a:cubicBezTo>
                    <a:pt x="70" y="77"/>
                    <a:pt x="69" y="77"/>
                    <a:pt x="69" y="77"/>
                  </a:cubicBezTo>
                  <a:cubicBezTo>
                    <a:pt x="61" y="72"/>
                    <a:pt x="54" y="65"/>
                    <a:pt x="47" y="57"/>
                  </a:cubicBezTo>
                  <a:cubicBezTo>
                    <a:pt x="44" y="53"/>
                    <a:pt x="42" y="49"/>
                    <a:pt x="41" y="46"/>
                  </a:cubicBezTo>
                  <a:cubicBezTo>
                    <a:pt x="43" y="45"/>
                    <a:pt x="44" y="42"/>
                    <a:pt x="46" y="41"/>
                  </a:cubicBezTo>
                  <a:cubicBezTo>
                    <a:pt x="47" y="40"/>
                    <a:pt x="48" y="39"/>
                    <a:pt x="49" y="38"/>
                  </a:cubicBezTo>
                  <a:cubicBezTo>
                    <a:pt x="51" y="35"/>
                    <a:pt x="53" y="32"/>
                    <a:pt x="53" y="29"/>
                  </a:cubicBezTo>
                  <a:cubicBezTo>
                    <a:pt x="53" y="25"/>
                    <a:pt x="51" y="22"/>
                    <a:pt x="49" y="19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1"/>
                    <a:pt x="40" y="10"/>
                    <a:pt x="39" y="9"/>
                  </a:cubicBezTo>
                  <a:cubicBezTo>
                    <a:pt x="37" y="8"/>
                    <a:pt x="36" y="6"/>
                    <a:pt x="34" y="5"/>
                  </a:cubicBezTo>
                  <a:cubicBezTo>
                    <a:pt x="31" y="2"/>
                    <a:pt x="28" y="0"/>
                    <a:pt x="25" y="0"/>
                  </a:cubicBezTo>
                  <a:cubicBezTo>
                    <a:pt x="21" y="0"/>
                    <a:pt x="18" y="2"/>
                    <a:pt x="16" y="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3" y="17"/>
                    <a:pt x="1" y="21"/>
                    <a:pt x="1" y="26"/>
                  </a:cubicBezTo>
                  <a:cubicBezTo>
                    <a:pt x="0" y="34"/>
                    <a:pt x="2" y="41"/>
                    <a:pt x="4" y="46"/>
                  </a:cubicBezTo>
                  <a:cubicBezTo>
                    <a:pt x="8" y="58"/>
                    <a:pt x="14" y="68"/>
                    <a:pt x="24" y="80"/>
                  </a:cubicBezTo>
                  <a:cubicBezTo>
                    <a:pt x="36" y="93"/>
                    <a:pt x="49" y="104"/>
                    <a:pt x="65" y="112"/>
                  </a:cubicBezTo>
                  <a:cubicBezTo>
                    <a:pt x="71" y="115"/>
                    <a:pt x="79" y="118"/>
                    <a:pt x="89" y="119"/>
                  </a:cubicBezTo>
                  <a:cubicBezTo>
                    <a:pt x="89" y="119"/>
                    <a:pt x="90" y="119"/>
                    <a:pt x="90" y="119"/>
                  </a:cubicBezTo>
                  <a:cubicBezTo>
                    <a:pt x="97" y="119"/>
                    <a:pt x="102" y="116"/>
                    <a:pt x="106" y="112"/>
                  </a:cubicBezTo>
                  <a:cubicBezTo>
                    <a:pt x="106" y="112"/>
                    <a:pt x="106" y="112"/>
                    <a:pt x="106" y="112"/>
                  </a:cubicBezTo>
                  <a:cubicBezTo>
                    <a:pt x="107" y="110"/>
                    <a:pt x="109" y="109"/>
                    <a:pt x="111" y="107"/>
                  </a:cubicBezTo>
                  <a:cubicBezTo>
                    <a:pt x="112" y="106"/>
                    <a:pt x="113" y="105"/>
                    <a:pt x="114" y="104"/>
                  </a:cubicBezTo>
                  <a:cubicBezTo>
                    <a:pt x="119" y="98"/>
                    <a:pt x="119" y="90"/>
                    <a:pt x="114" y="85"/>
                  </a:cubicBezTo>
                  <a:close/>
                  <a:moveTo>
                    <a:pt x="108" y="98"/>
                  </a:moveTo>
                  <a:cubicBezTo>
                    <a:pt x="107" y="99"/>
                    <a:pt x="106" y="100"/>
                    <a:pt x="105" y="102"/>
                  </a:cubicBezTo>
                  <a:cubicBezTo>
                    <a:pt x="103" y="103"/>
                    <a:pt x="102" y="105"/>
                    <a:pt x="100" y="107"/>
                  </a:cubicBezTo>
                  <a:cubicBezTo>
                    <a:pt x="97" y="109"/>
                    <a:pt x="94" y="111"/>
                    <a:pt x="91" y="111"/>
                  </a:cubicBezTo>
                  <a:cubicBezTo>
                    <a:pt x="90" y="111"/>
                    <a:pt x="90" y="111"/>
                    <a:pt x="89" y="111"/>
                  </a:cubicBezTo>
                  <a:cubicBezTo>
                    <a:pt x="82" y="110"/>
                    <a:pt x="74" y="107"/>
                    <a:pt x="69" y="104"/>
                  </a:cubicBezTo>
                  <a:cubicBezTo>
                    <a:pt x="54" y="97"/>
                    <a:pt x="42" y="87"/>
                    <a:pt x="31" y="74"/>
                  </a:cubicBezTo>
                  <a:cubicBezTo>
                    <a:pt x="22" y="64"/>
                    <a:pt x="16" y="54"/>
                    <a:pt x="12" y="43"/>
                  </a:cubicBezTo>
                  <a:cubicBezTo>
                    <a:pt x="9" y="37"/>
                    <a:pt x="8" y="32"/>
                    <a:pt x="9" y="27"/>
                  </a:cubicBezTo>
                  <a:cubicBezTo>
                    <a:pt x="9" y="24"/>
                    <a:pt x="10" y="22"/>
                    <a:pt x="12" y="19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0"/>
                    <a:pt x="23" y="9"/>
                    <a:pt x="25" y="9"/>
                  </a:cubicBezTo>
                  <a:cubicBezTo>
                    <a:pt x="26" y="9"/>
                    <a:pt x="27" y="10"/>
                    <a:pt x="28" y="11"/>
                  </a:cubicBezTo>
                  <a:cubicBezTo>
                    <a:pt x="30" y="12"/>
                    <a:pt x="31" y="14"/>
                    <a:pt x="33" y="15"/>
                  </a:cubicBezTo>
                  <a:cubicBezTo>
                    <a:pt x="34" y="16"/>
                    <a:pt x="35" y="17"/>
                    <a:pt x="36" y="18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4" y="26"/>
                    <a:pt x="45" y="27"/>
                    <a:pt x="45" y="29"/>
                  </a:cubicBezTo>
                  <a:cubicBezTo>
                    <a:pt x="45" y="30"/>
                    <a:pt x="44" y="32"/>
                    <a:pt x="43" y="32"/>
                  </a:cubicBezTo>
                  <a:cubicBezTo>
                    <a:pt x="42" y="33"/>
                    <a:pt x="41" y="34"/>
                    <a:pt x="41" y="35"/>
                  </a:cubicBezTo>
                  <a:cubicBezTo>
                    <a:pt x="38" y="37"/>
                    <a:pt x="36" y="39"/>
                    <a:pt x="34" y="41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1" y="44"/>
                    <a:pt x="32" y="46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4" y="53"/>
                    <a:pt x="37" y="57"/>
                    <a:pt x="41" y="62"/>
                  </a:cubicBezTo>
                  <a:cubicBezTo>
                    <a:pt x="48" y="71"/>
                    <a:pt x="56" y="78"/>
                    <a:pt x="64" y="83"/>
                  </a:cubicBezTo>
                  <a:cubicBezTo>
                    <a:pt x="65" y="84"/>
                    <a:pt x="67" y="85"/>
                    <a:pt x="68" y="85"/>
                  </a:cubicBezTo>
                  <a:cubicBezTo>
                    <a:pt x="69" y="86"/>
                    <a:pt x="69" y="86"/>
                    <a:pt x="70" y="87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3" y="88"/>
                    <a:pt x="76" y="88"/>
                    <a:pt x="78" y="86"/>
                  </a:cubicBezTo>
                  <a:cubicBezTo>
                    <a:pt x="87" y="77"/>
                    <a:pt x="87" y="77"/>
                    <a:pt x="87" y="77"/>
                  </a:cubicBezTo>
                  <a:cubicBezTo>
                    <a:pt x="87" y="76"/>
                    <a:pt x="89" y="75"/>
                    <a:pt x="90" y="75"/>
                  </a:cubicBezTo>
                  <a:cubicBezTo>
                    <a:pt x="92" y="75"/>
                    <a:pt x="93" y="76"/>
                    <a:pt x="94" y="77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10" y="93"/>
                    <a:pt x="110" y="96"/>
                    <a:pt x="108" y="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7D246B40-2978-4EB7-86D2-5B515B672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3" y="2712"/>
              <a:ext cx="770" cy="1213"/>
            </a:xfrm>
            <a:custGeom>
              <a:avLst/>
              <a:gdLst>
                <a:gd name="T0" fmla="*/ 350 w 430"/>
                <a:gd name="T1" fmla="*/ 19 h 677"/>
                <a:gd name="T2" fmla="*/ 204 w 430"/>
                <a:gd name="T3" fmla="*/ 0 h 677"/>
                <a:gd name="T4" fmla="*/ 205 w 430"/>
                <a:gd name="T5" fmla="*/ 14 h 677"/>
                <a:gd name="T6" fmla="*/ 80 w 430"/>
                <a:gd name="T7" fmla="*/ 31 h 677"/>
                <a:gd name="T8" fmla="*/ 71 w 430"/>
                <a:gd name="T9" fmla="*/ 677 h 677"/>
                <a:gd name="T10" fmla="*/ 172 w 430"/>
                <a:gd name="T11" fmla="*/ 677 h 677"/>
                <a:gd name="T12" fmla="*/ 209 w 430"/>
                <a:gd name="T13" fmla="*/ 227 h 677"/>
                <a:gd name="T14" fmla="*/ 222 w 430"/>
                <a:gd name="T15" fmla="*/ 227 h 677"/>
                <a:gd name="T16" fmla="*/ 257 w 430"/>
                <a:gd name="T17" fmla="*/ 677 h 677"/>
                <a:gd name="T18" fmla="*/ 359 w 430"/>
                <a:gd name="T19" fmla="*/ 677 h 677"/>
                <a:gd name="T20" fmla="*/ 350 w 430"/>
                <a:gd name="T21" fmla="*/ 19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0" h="677">
                  <a:moveTo>
                    <a:pt x="350" y="19"/>
                  </a:moveTo>
                  <a:cubicBezTo>
                    <a:pt x="204" y="0"/>
                    <a:pt x="204" y="0"/>
                    <a:pt x="204" y="0"/>
                  </a:cubicBezTo>
                  <a:cubicBezTo>
                    <a:pt x="205" y="14"/>
                    <a:pt x="205" y="14"/>
                    <a:pt x="205" y="14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0" y="31"/>
                    <a:pt x="0" y="233"/>
                    <a:pt x="71" y="677"/>
                  </a:cubicBezTo>
                  <a:cubicBezTo>
                    <a:pt x="172" y="677"/>
                    <a:pt x="172" y="677"/>
                    <a:pt x="172" y="677"/>
                  </a:cubicBezTo>
                  <a:cubicBezTo>
                    <a:pt x="209" y="227"/>
                    <a:pt x="209" y="227"/>
                    <a:pt x="209" y="227"/>
                  </a:cubicBezTo>
                  <a:cubicBezTo>
                    <a:pt x="222" y="227"/>
                    <a:pt x="222" y="227"/>
                    <a:pt x="222" y="227"/>
                  </a:cubicBezTo>
                  <a:cubicBezTo>
                    <a:pt x="257" y="677"/>
                    <a:pt x="257" y="677"/>
                    <a:pt x="257" y="677"/>
                  </a:cubicBezTo>
                  <a:cubicBezTo>
                    <a:pt x="359" y="677"/>
                    <a:pt x="359" y="677"/>
                    <a:pt x="359" y="677"/>
                  </a:cubicBezTo>
                  <a:cubicBezTo>
                    <a:pt x="430" y="233"/>
                    <a:pt x="350" y="19"/>
                    <a:pt x="350" y="19"/>
                  </a:cubicBezTo>
                  <a:close/>
                </a:path>
              </a:pathLst>
            </a:custGeom>
            <a:solidFill>
              <a:srgbClr val="8E7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Line 31">
              <a:extLst>
                <a:ext uri="{FF2B5EF4-FFF2-40B4-BE49-F238E27FC236}">
                  <a16:creationId xmlns:a16="http://schemas.microsoft.com/office/drawing/2014/main" id="{84B9F8B1-FCE2-4F52-8F28-18DAC141FA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63" y="3119"/>
              <a:ext cx="190" cy="0"/>
            </a:xfrm>
            <a:prstGeom prst="line">
              <a:avLst/>
            </a:prstGeom>
            <a:noFill/>
            <a:ln w="14288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DAD88F83-E1DA-42B2-ADD1-E92F75707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" y="2325"/>
              <a:ext cx="288" cy="577"/>
            </a:xfrm>
            <a:custGeom>
              <a:avLst/>
              <a:gdLst>
                <a:gd name="T0" fmla="*/ 105 w 161"/>
                <a:gd name="T1" fmla="*/ 22 h 322"/>
                <a:gd name="T2" fmla="*/ 19 w 161"/>
                <a:gd name="T3" fmla="*/ 3 h 322"/>
                <a:gd name="T4" fmla="*/ 70 w 161"/>
                <a:gd name="T5" fmla="*/ 283 h 322"/>
                <a:gd name="T6" fmla="*/ 130 w 161"/>
                <a:gd name="T7" fmla="*/ 312 h 322"/>
                <a:gd name="T8" fmla="*/ 131 w 161"/>
                <a:gd name="T9" fmla="*/ 311 h 322"/>
                <a:gd name="T10" fmla="*/ 157 w 161"/>
                <a:gd name="T11" fmla="*/ 262 h 322"/>
                <a:gd name="T12" fmla="*/ 105 w 161"/>
                <a:gd name="T13" fmla="*/ 2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1" h="322">
                  <a:moveTo>
                    <a:pt x="105" y="22"/>
                  </a:moveTo>
                  <a:cubicBezTo>
                    <a:pt x="93" y="2"/>
                    <a:pt x="22" y="3"/>
                    <a:pt x="19" y="3"/>
                  </a:cubicBezTo>
                  <a:cubicBezTo>
                    <a:pt x="0" y="0"/>
                    <a:pt x="31" y="151"/>
                    <a:pt x="70" y="283"/>
                  </a:cubicBezTo>
                  <a:cubicBezTo>
                    <a:pt x="78" y="309"/>
                    <a:pt x="106" y="322"/>
                    <a:pt x="130" y="312"/>
                  </a:cubicBezTo>
                  <a:cubicBezTo>
                    <a:pt x="130" y="311"/>
                    <a:pt x="131" y="311"/>
                    <a:pt x="131" y="311"/>
                  </a:cubicBezTo>
                  <a:cubicBezTo>
                    <a:pt x="150" y="303"/>
                    <a:pt x="161" y="283"/>
                    <a:pt x="157" y="262"/>
                  </a:cubicBezTo>
                  <a:cubicBezTo>
                    <a:pt x="138" y="163"/>
                    <a:pt x="120" y="45"/>
                    <a:pt x="105" y="22"/>
                  </a:cubicBez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33">
              <a:extLst>
                <a:ext uri="{FF2B5EF4-FFF2-40B4-BE49-F238E27FC236}">
                  <a16:creationId xmlns:a16="http://schemas.microsoft.com/office/drawing/2014/main" id="{935F5ED3-950D-4FC9-B7D3-F3215B9AA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7" y="2408"/>
              <a:ext cx="175" cy="118"/>
            </a:xfrm>
            <a:custGeom>
              <a:avLst/>
              <a:gdLst>
                <a:gd name="T0" fmla="*/ 175 w 175"/>
                <a:gd name="T1" fmla="*/ 55 h 118"/>
                <a:gd name="T2" fmla="*/ 14 w 175"/>
                <a:gd name="T3" fmla="*/ 118 h 118"/>
                <a:gd name="T4" fmla="*/ 0 w 175"/>
                <a:gd name="T5" fmla="*/ 41 h 118"/>
                <a:gd name="T6" fmla="*/ 166 w 175"/>
                <a:gd name="T7" fmla="*/ 0 h 118"/>
                <a:gd name="T8" fmla="*/ 175 w 175"/>
                <a:gd name="T9" fmla="*/ 5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118">
                  <a:moveTo>
                    <a:pt x="175" y="55"/>
                  </a:moveTo>
                  <a:lnTo>
                    <a:pt x="14" y="118"/>
                  </a:lnTo>
                  <a:lnTo>
                    <a:pt x="0" y="41"/>
                  </a:lnTo>
                  <a:lnTo>
                    <a:pt x="166" y="0"/>
                  </a:lnTo>
                  <a:lnTo>
                    <a:pt x="175" y="55"/>
                  </a:lnTo>
                  <a:close/>
                </a:path>
              </a:pathLst>
            </a:custGeom>
            <a:solidFill>
              <a:srgbClr val="F39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34">
              <a:extLst>
                <a:ext uri="{FF2B5EF4-FFF2-40B4-BE49-F238E27FC236}">
                  <a16:creationId xmlns:a16="http://schemas.microsoft.com/office/drawing/2014/main" id="{6348314C-A603-46D0-B29E-8FD85FFD81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" y="2547"/>
              <a:ext cx="77" cy="171"/>
            </a:xfrm>
            <a:custGeom>
              <a:avLst/>
              <a:gdLst>
                <a:gd name="T0" fmla="*/ 43 w 43"/>
                <a:gd name="T1" fmla="*/ 38 h 95"/>
                <a:gd name="T2" fmla="*/ 2 w 43"/>
                <a:gd name="T3" fmla="*/ 92 h 95"/>
                <a:gd name="T4" fmla="*/ 36 w 43"/>
                <a:gd name="T5" fmla="*/ 0 h 95"/>
                <a:gd name="T6" fmla="*/ 43 w 43"/>
                <a:gd name="T7" fmla="*/ 3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95">
                  <a:moveTo>
                    <a:pt x="43" y="38"/>
                  </a:moveTo>
                  <a:cubicBezTo>
                    <a:pt x="43" y="38"/>
                    <a:pt x="0" y="95"/>
                    <a:pt x="2" y="92"/>
                  </a:cubicBezTo>
                  <a:cubicBezTo>
                    <a:pt x="4" y="90"/>
                    <a:pt x="36" y="0"/>
                    <a:pt x="36" y="0"/>
                  </a:cubicBezTo>
                  <a:lnTo>
                    <a:pt x="43" y="38"/>
                  </a:lnTo>
                  <a:close/>
                </a:path>
              </a:pathLst>
            </a:custGeom>
            <a:solidFill>
              <a:srgbClr val="F39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35">
              <a:extLst>
                <a:ext uri="{FF2B5EF4-FFF2-40B4-BE49-F238E27FC236}">
                  <a16:creationId xmlns:a16="http://schemas.microsoft.com/office/drawing/2014/main" id="{2370634C-775C-4796-B2BF-5B4708ACA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5" y="2477"/>
              <a:ext cx="343" cy="425"/>
            </a:xfrm>
            <a:custGeom>
              <a:avLst/>
              <a:gdLst>
                <a:gd name="T0" fmla="*/ 137 w 192"/>
                <a:gd name="T1" fmla="*/ 0 h 237"/>
                <a:gd name="T2" fmla="*/ 16 w 192"/>
                <a:gd name="T3" fmla="*/ 158 h 237"/>
                <a:gd name="T4" fmla="*/ 27 w 192"/>
                <a:gd name="T5" fmla="*/ 223 h 237"/>
                <a:gd name="T6" fmla="*/ 27 w 192"/>
                <a:gd name="T7" fmla="*/ 223 h 237"/>
                <a:gd name="T8" fmla="*/ 91 w 192"/>
                <a:gd name="T9" fmla="*/ 207 h 237"/>
                <a:gd name="T10" fmla="*/ 192 w 192"/>
                <a:gd name="T11" fmla="*/ 20 h 237"/>
                <a:gd name="T12" fmla="*/ 137 w 192"/>
                <a:gd name="T13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237">
                  <a:moveTo>
                    <a:pt x="137" y="0"/>
                  </a:moveTo>
                  <a:cubicBezTo>
                    <a:pt x="16" y="158"/>
                    <a:pt x="16" y="158"/>
                    <a:pt x="16" y="158"/>
                  </a:cubicBezTo>
                  <a:cubicBezTo>
                    <a:pt x="0" y="179"/>
                    <a:pt x="5" y="209"/>
                    <a:pt x="27" y="223"/>
                  </a:cubicBezTo>
                  <a:cubicBezTo>
                    <a:pt x="27" y="223"/>
                    <a:pt x="27" y="223"/>
                    <a:pt x="27" y="223"/>
                  </a:cubicBezTo>
                  <a:cubicBezTo>
                    <a:pt x="49" y="237"/>
                    <a:pt x="78" y="230"/>
                    <a:pt x="91" y="207"/>
                  </a:cubicBezTo>
                  <a:cubicBezTo>
                    <a:pt x="192" y="20"/>
                    <a:pt x="192" y="20"/>
                    <a:pt x="192" y="20"/>
                  </a:cubicBezTo>
                  <a:lnTo>
                    <a:pt x="137" y="0"/>
                  </a:ln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36">
              <a:extLst>
                <a:ext uri="{FF2B5EF4-FFF2-40B4-BE49-F238E27FC236}">
                  <a16:creationId xmlns:a16="http://schemas.microsoft.com/office/drawing/2014/main" id="{67D3D56D-7DE8-4E5A-A107-9313D9580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" y="2365"/>
              <a:ext cx="202" cy="200"/>
            </a:xfrm>
            <a:custGeom>
              <a:avLst/>
              <a:gdLst>
                <a:gd name="T0" fmla="*/ 41 w 113"/>
                <a:gd name="T1" fmla="*/ 104 h 112"/>
                <a:gd name="T2" fmla="*/ 9 w 113"/>
                <a:gd name="T3" fmla="*/ 41 h 112"/>
                <a:gd name="T4" fmla="*/ 72 w 113"/>
                <a:gd name="T5" fmla="*/ 8 h 112"/>
                <a:gd name="T6" fmla="*/ 104 w 113"/>
                <a:gd name="T7" fmla="*/ 72 h 112"/>
                <a:gd name="T8" fmla="*/ 41 w 113"/>
                <a:gd name="T9" fmla="*/ 10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2">
                  <a:moveTo>
                    <a:pt x="41" y="104"/>
                  </a:moveTo>
                  <a:cubicBezTo>
                    <a:pt x="15" y="95"/>
                    <a:pt x="0" y="67"/>
                    <a:pt x="9" y="41"/>
                  </a:cubicBezTo>
                  <a:cubicBezTo>
                    <a:pt x="17" y="14"/>
                    <a:pt x="45" y="0"/>
                    <a:pt x="72" y="8"/>
                  </a:cubicBezTo>
                  <a:cubicBezTo>
                    <a:pt x="98" y="17"/>
                    <a:pt x="113" y="45"/>
                    <a:pt x="104" y="72"/>
                  </a:cubicBezTo>
                  <a:cubicBezTo>
                    <a:pt x="96" y="98"/>
                    <a:pt x="67" y="112"/>
                    <a:pt x="41" y="104"/>
                  </a:cubicBez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37">
              <a:extLst>
                <a:ext uri="{FF2B5EF4-FFF2-40B4-BE49-F238E27FC236}">
                  <a16:creationId xmlns:a16="http://schemas.microsoft.com/office/drawing/2014/main" id="{510BD20A-80EB-4765-BA8A-53400CB46B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" y="2350"/>
              <a:ext cx="175" cy="88"/>
            </a:xfrm>
            <a:custGeom>
              <a:avLst/>
              <a:gdLst>
                <a:gd name="T0" fmla="*/ 84 w 98"/>
                <a:gd name="T1" fmla="*/ 34 h 49"/>
                <a:gd name="T2" fmla="*/ 73 w 98"/>
                <a:gd name="T3" fmla="*/ 10 h 49"/>
                <a:gd name="T4" fmla="*/ 0 w 98"/>
                <a:gd name="T5" fmla="*/ 49 h 49"/>
                <a:gd name="T6" fmla="*/ 84 w 98"/>
                <a:gd name="T7" fmla="*/ 3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49">
                  <a:moveTo>
                    <a:pt x="84" y="34"/>
                  </a:moveTo>
                  <a:cubicBezTo>
                    <a:pt x="84" y="34"/>
                    <a:pt x="98" y="20"/>
                    <a:pt x="73" y="10"/>
                  </a:cubicBezTo>
                  <a:cubicBezTo>
                    <a:pt x="49" y="0"/>
                    <a:pt x="19" y="2"/>
                    <a:pt x="0" y="49"/>
                  </a:cubicBezTo>
                  <a:lnTo>
                    <a:pt x="84" y="34"/>
                  </a:ln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38">
              <a:extLst>
                <a:ext uri="{FF2B5EF4-FFF2-40B4-BE49-F238E27FC236}">
                  <a16:creationId xmlns:a16="http://schemas.microsoft.com/office/drawing/2014/main" id="{F1B5FF58-146C-4C2D-A398-35F2114F8B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9" y="2230"/>
              <a:ext cx="235" cy="287"/>
            </a:xfrm>
            <a:custGeom>
              <a:avLst/>
              <a:gdLst>
                <a:gd name="T0" fmla="*/ 76 w 131"/>
                <a:gd name="T1" fmla="*/ 1 h 160"/>
                <a:gd name="T2" fmla="*/ 127 w 131"/>
                <a:gd name="T3" fmla="*/ 23 h 160"/>
                <a:gd name="T4" fmla="*/ 129 w 131"/>
                <a:gd name="T5" fmla="*/ 31 h 160"/>
                <a:gd name="T6" fmla="*/ 62 w 131"/>
                <a:gd name="T7" fmla="*/ 156 h 160"/>
                <a:gd name="T8" fmla="*/ 54 w 131"/>
                <a:gd name="T9" fmla="*/ 159 h 160"/>
                <a:gd name="T10" fmla="*/ 4 w 131"/>
                <a:gd name="T11" fmla="*/ 137 h 160"/>
                <a:gd name="T12" fmla="*/ 1 w 131"/>
                <a:gd name="T13" fmla="*/ 130 h 160"/>
                <a:gd name="T14" fmla="*/ 68 w 131"/>
                <a:gd name="T15" fmla="*/ 4 h 160"/>
                <a:gd name="T16" fmla="*/ 76 w 131"/>
                <a:gd name="T1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160">
                  <a:moveTo>
                    <a:pt x="76" y="1"/>
                  </a:moveTo>
                  <a:cubicBezTo>
                    <a:pt x="127" y="23"/>
                    <a:pt x="127" y="23"/>
                    <a:pt x="127" y="23"/>
                  </a:cubicBezTo>
                  <a:cubicBezTo>
                    <a:pt x="130" y="25"/>
                    <a:pt x="131" y="28"/>
                    <a:pt x="129" y="31"/>
                  </a:cubicBezTo>
                  <a:cubicBezTo>
                    <a:pt x="62" y="156"/>
                    <a:pt x="62" y="156"/>
                    <a:pt x="62" y="156"/>
                  </a:cubicBezTo>
                  <a:cubicBezTo>
                    <a:pt x="61" y="159"/>
                    <a:pt x="57" y="160"/>
                    <a:pt x="54" y="159"/>
                  </a:cubicBezTo>
                  <a:cubicBezTo>
                    <a:pt x="4" y="137"/>
                    <a:pt x="4" y="137"/>
                    <a:pt x="4" y="137"/>
                  </a:cubicBezTo>
                  <a:cubicBezTo>
                    <a:pt x="1" y="136"/>
                    <a:pt x="0" y="132"/>
                    <a:pt x="1" y="130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0" y="1"/>
                    <a:pt x="73" y="0"/>
                    <a:pt x="76" y="1"/>
                  </a:cubicBezTo>
                  <a:close/>
                </a:path>
              </a:pathLst>
            </a:custGeom>
            <a:solidFill>
              <a:srgbClr val="372F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39">
              <a:extLst>
                <a:ext uri="{FF2B5EF4-FFF2-40B4-BE49-F238E27FC236}">
                  <a16:creationId xmlns:a16="http://schemas.microsoft.com/office/drawing/2014/main" id="{B4499D4E-8C0B-495F-B437-2B99E162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0" y="2227"/>
              <a:ext cx="235" cy="286"/>
            </a:xfrm>
            <a:custGeom>
              <a:avLst/>
              <a:gdLst>
                <a:gd name="T0" fmla="*/ 76 w 131"/>
                <a:gd name="T1" fmla="*/ 1 h 160"/>
                <a:gd name="T2" fmla="*/ 127 w 131"/>
                <a:gd name="T3" fmla="*/ 23 h 160"/>
                <a:gd name="T4" fmla="*/ 130 w 131"/>
                <a:gd name="T5" fmla="*/ 31 h 160"/>
                <a:gd name="T6" fmla="*/ 63 w 131"/>
                <a:gd name="T7" fmla="*/ 156 h 160"/>
                <a:gd name="T8" fmla="*/ 55 w 131"/>
                <a:gd name="T9" fmla="*/ 159 h 160"/>
                <a:gd name="T10" fmla="*/ 4 w 131"/>
                <a:gd name="T11" fmla="*/ 137 h 160"/>
                <a:gd name="T12" fmla="*/ 1 w 131"/>
                <a:gd name="T13" fmla="*/ 129 h 160"/>
                <a:gd name="T14" fmla="*/ 68 w 131"/>
                <a:gd name="T15" fmla="*/ 4 h 160"/>
                <a:gd name="T16" fmla="*/ 76 w 131"/>
                <a:gd name="T17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160">
                  <a:moveTo>
                    <a:pt x="76" y="1"/>
                  </a:moveTo>
                  <a:cubicBezTo>
                    <a:pt x="127" y="23"/>
                    <a:pt x="127" y="23"/>
                    <a:pt x="127" y="23"/>
                  </a:cubicBezTo>
                  <a:cubicBezTo>
                    <a:pt x="130" y="24"/>
                    <a:pt x="131" y="28"/>
                    <a:pt x="130" y="31"/>
                  </a:cubicBezTo>
                  <a:cubicBezTo>
                    <a:pt x="63" y="156"/>
                    <a:pt x="63" y="156"/>
                    <a:pt x="63" y="156"/>
                  </a:cubicBezTo>
                  <a:cubicBezTo>
                    <a:pt x="61" y="159"/>
                    <a:pt x="57" y="160"/>
                    <a:pt x="55" y="159"/>
                  </a:cubicBezTo>
                  <a:cubicBezTo>
                    <a:pt x="4" y="137"/>
                    <a:pt x="4" y="137"/>
                    <a:pt x="4" y="137"/>
                  </a:cubicBezTo>
                  <a:cubicBezTo>
                    <a:pt x="1" y="136"/>
                    <a:pt x="0" y="132"/>
                    <a:pt x="1" y="129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0" y="1"/>
                    <a:pt x="73" y="0"/>
                    <a:pt x="76" y="1"/>
                  </a:cubicBezTo>
                  <a:close/>
                </a:path>
              </a:pathLst>
            </a:custGeom>
            <a:solidFill>
              <a:srgbClr val="261B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40">
              <a:extLst>
                <a:ext uri="{FF2B5EF4-FFF2-40B4-BE49-F238E27FC236}">
                  <a16:creationId xmlns:a16="http://schemas.microsoft.com/office/drawing/2014/main" id="{85A17E1B-A995-4308-A46D-E80289EEA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9" y="2252"/>
              <a:ext cx="177" cy="217"/>
            </a:xfrm>
            <a:custGeom>
              <a:avLst/>
              <a:gdLst>
                <a:gd name="T0" fmla="*/ 98 w 177"/>
                <a:gd name="T1" fmla="*/ 0 h 217"/>
                <a:gd name="T2" fmla="*/ 177 w 177"/>
                <a:gd name="T3" fmla="*/ 34 h 217"/>
                <a:gd name="T4" fmla="*/ 80 w 177"/>
                <a:gd name="T5" fmla="*/ 217 h 217"/>
                <a:gd name="T6" fmla="*/ 0 w 177"/>
                <a:gd name="T7" fmla="*/ 183 h 217"/>
                <a:gd name="T8" fmla="*/ 98 w 177"/>
                <a:gd name="T9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17">
                  <a:moveTo>
                    <a:pt x="98" y="0"/>
                  </a:moveTo>
                  <a:lnTo>
                    <a:pt x="177" y="34"/>
                  </a:lnTo>
                  <a:lnTo>
                    <a:pt x="80" y="217"/>
                  </a:lnTo>
                  <a:lnTo>
                    <a:pt x="0" y="183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41">
              <a:extLst>
                <a:ext uri="{FF2B5EF4-FFF2-40B4-BE49-F238E27FC236}">
                  <a16:creationId xmlns:a16="http://schemas.microsoft.com/office/drawing/2014/main" id="{BA2DB5A6-25C4-42C8-B529-3D6C9FDA7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9" y="2252"/>
              <a:ext cx="177" cy="183"/>
            </a:xfrm>
            <a:custGeom>
              <a:avLst/>
              <a:gdLst>
                <a:gd name="T0" fmla="*/ 177 w 177"/>
                <a:gd name="T1" fmla="*/ 34 h 183"/>
                <a:gd name="T2" fmla="*/ 0 w 177"/>
                <a:gd name="T3" fmla="*/ 183 h 183"/>
                <a:gd name="T4" fmla="*/ 98 w 177"/>
                <a:gd name="T5" fmla="*/ 0 h 183"/>
                <a:gd name="T6" fmla="*/ 177 w 177"/>
                <a:gd name="T7" fmla="*/ 34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7" h="183">
                  <a:moveTo>
                    <a:pt x="177" y="34"/>
                  </a:moveTo>
                  <a:lnTo>
                    <a:pt x="0" y="183"/>
                  </a:lnTo>
                  <a:lnTo>
                    <a:pt x="98" y="0"/>
                  </a:lnTo>
                  <a:lnTo>
                    <a:pt x="177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42">
              <a:extLst>
                <a:ext uri="{FF2B5EF4-FFF2-40B4-BE49-F238E27FC236}">
                  <a16:creationId xmlns:a16="http://schemas.microsoft.com/office/drawing/2014/main" id="{E3FF91AB-CA26-4437-8704-7FF02BF7AC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2" y="2361"/>
              <a:ext cx="124" cy="106"/>
            </a:xfrm>
            <a:custGeom>
              <a:avLst/>
              <a:gdLst>
                <a:gd name="T0" fmla="*/ 41 w 69"/>
                <a:gd name="T1" fmla="*/ 0 h 59"/>
                <a:gd name="T2" fmla="*/ 62 w 69"/>
                <a:gd name="T3" fmla="*/ 8 h 59"/>
                <a:gd name="T4" fmla="*/ 68 w 69"/>
                <a:gd name="T5" fmla="*/ 20 h 59"/>
                <a:gd name="T6" fmla="*/ 68 w 69"/>
                <a:gd name="T7" fmla="*/ 20 h 59"/>
                <a:gd name="T8" fmla="*/ 58 w 69"/>
                <a:gd name="T9" fmla="*/ 29 h 59"/>
                <a:gd name="T10" fmla="*/ 32 w 69"/>
                <a:gd name="T11" fmla="*/ 32 h 59"/>
                <a:gd name="T12" fmla="*/ 0 w 69"/>
                <a:gd name="T13" fmla="*/ 59 h 59"/>
                <a:gd name="T14" fmla="*/ 16 w 69"/>
                <a:gd name="T15" fmla="*/ 17 h 59"/>
                <a:gd name="T16" fmla="*/ 41 w 69"/>
                <a:gd name="T1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59">
                  <a:moveTo>
                    <a:pt x="41" y="0"/>
                  </a:moveTo>
                  <a:cubicBezTo>
                    <a:pt x="41" y="0"/>
                    <a:pt x="52" y="2"/>
                    <a:pt x="62" y="8"/>
                  </a:cubicBezTo>
                  <a:cubicBezTo>
                    <a:pt x="67" y="10"/>
                    <a:pt x="69" y="15"/>
                    <a:pt x="68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7" y="25"/>
                    <a:pt x="63" y="28"/>
                    <a:pt x="58" y="29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18" y="56"/>
                    <a:pt x="0" y="59"/>
                  </a:cubicBezTo>
                  <a:cubicBezTo>
                    <a:pt x="16" y="17"/>
                    <a:pt x="16" y="17"/>
                    <a:pt x="16" y="17"/>
                  </a:cubicBezTo>
                  <a:lnTo>
                    <a:pt x="41" y="0"/>
                  </a:ln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43">
              <a:extLst>
                <a:ext uri="{FF2B5EF4-FFF2-40B4-BE49-F238E27FC236}">
                  <a16:creationId xmlns:a16="http://schemas.microsoft.com/office/drawing/2014/main" id="{EBB64DF8-1A68-4CA6-90BA-6A02B5033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7" y="2010"/>
              <a:ext cx="805" cy="758"/>
            </a:xfrm>
            <a:custGeom>
              <a:avLst/>
              <a:gdLst>
                <a:gd name="T0" fmla="*/ 231 w 450"/>
                <a:gd name="T1" fmla="*/ 0 h 423"/>
                <a:gd name="T2" fmla="*/ 450 w 450"/>
                <a:gd name="T3" fmla="*/ 244 h 423"/>
                <a:gd name="T4" fmla="*/ 351 w 450"/>
                <a:gd name="T5" fmla="*/ 259 h 423"/>
                <a:gd name="T6" fmla="*/ 331 w 450"/>
                <a:gd name="T7" fmla="*/ 423 h 423"/>
                <a:gd name="T8" fmla="*/ 55 w 450"/>
                <a:gd name="T9" fmla="*/ 423 h 423"/>
                <a:gd name="T10" fmla="*/ 0 w 450"/>
                <a:gd name="T11" fmla="*/ 120 h 423"/>
                <a:gd name="T12" fmla="*/ 175 w 450"/>
                <a:gd name="T13" fmla="*/ 0 h 423"/>
                <a:gd name="T14" fmla="*/ 231 w 450"/>
                <a:gd name="T15" fmla="*/ 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0" h="423">
                  <a:moveTo>
                    <a:pt x="231" y="0"/>
                  </a:moveTo>
                  <a:cubicBezTo>
                    <a:pt x="228" y="0"/>
                    <a:pt x="418" y="26"/>
                    <a:pt x="450" y="244"/>
                  </a:cubicBezTo>
                  <a:cubicBezTo>
                    <a:pt x="351" y="259"/>
                    <a:pt x="351" y="259"/>
                    <a:pt x="351" y="259"/>
                  </a:cubicBezTo>
                  <a:cubicBezTo>
                    <a:pt x="331" y="423"/>
                    <a:pt x="331" y="423"/>
                    <a:pt x="331" y="423"/>
                  </a:cubicBezTo>
                  <a:cubicBezTo>
                    <a:pt x="55" y="423"/>
                    <a:pt x="55" y="423"/>
                    <a:pt x="55" y="423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20"/>
                    <a:pt x="61" y="32"/>
                    <a:pt x="175" y="0"/>
                  </a:cubicBezTo>
                  <a:lnTo>
                    <a:pt x="231" y="0"/>
                  </a:lnTo>
                  <a:close/>
                </a:path>
              </a:pathLst>
            </a:custGeom>
            <a:solidFill>
              <a:srgbClr val="56DF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Line 44">
              <a:extLst>
                <a:ext uri="{FF2B5EF4-FFF2-40B4-BE49-F238E27FC236}">
                  <a16:creationId xmlns:a16="http://schemas.microsoft.com/office/drawing/2014/main" id="{E2425024-9DB2-40A0-8C4F-2A584408F2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135" y="2304"/>
              <a:ext cx="15" cy="170"/>
            </a:xfrm>
            <a:prstGeom prst="line">
              <a:avLst/>
            </a:prstGeom>
            <a:noFill/>
            <a:ln w="14288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45">
              <a:extLst>
                <a:ext uri="{FF2B5EF4-FFF2-40B4-BE49-F238E27FC236}">
                  <a16:creationId xmlns:a16="http://schemas.microsoft.com/office/drawing/2014/main" id="{6894A458-5225-47D1-84C7-2AA6C2BEC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0" y="1879"/>
              <a:ext cx="251" cy="230"/>
            </a:xfrm>
            <a:custGeom>
              <a:avLst/>
              <a:gdLst>
                <a:gd name="T0" fmla="*/ 113 w 140"/>
                <a:gd name="T1" fmla="*/ 76 h 128"/>
                <a:gd name="T2" fmla="*/ 113 w 140"/>
                <a:gd name="T3" fmla="*/ 0 h 128"/>
                <a:gd name="T4" fmla="*/ 24 w 140"/>
                <a:gd name="T5" fmla="*/ 0 h 128"/>
                <a:gd name="T6" fmla="*/ 24 w 140"/>
                <a:gd name="T7" fmla="*/ 77 h 128"/>
                <a:gd name="T8" fmla="*/ 0 w 140"/>
                <a:gd name="T9" fmla="*/ 87 h 128"/>
                <a:gd name="T10" fmla="*/ 69 w 140"/>
                <a:gd name="T11" fmla="*/ 128 h 128"/>
                <a:gd name="T12" fmla="*/ 140 w 140"/>
                <a:gd name="T13" fmla="*/ 87 h 128"/>
                <a:gd name="T14" fmla="*/ 113 w 140"/>
                <a:gd name="T15" fmla="*/ 7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28">
                  <a:moveTo>
                    <a:pt x="113" y="76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0" y="78"/>
                    <a:pt x="12" y="81"/>
                    <a:pt x="0" y="87"/>
                  </a:cubicBezTo>
                  <a:cubicBezTo>
                    <a:pt x="69" y="128"/>
                    <a:pt x="69" y="128"/>
                    <a:pt x="69" y="128"/>
                  </a:cubicBezTo>
                  <a:cubicBezTo>
                    <a:pt x="140" y="87"/>
                    <a:pt x="140" y="87"/>
                    <a:pt x="140" y="87"/>
                  </a:cubicBezTo>
                  <a:cubicBezTo>
                    <a:pt x="140" y="87"/>
                    <a:pt x="129" y="80"/>
                    <a:pt x="113" y="76"/>
                  </a:cubicBez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46">
              <a:extLst>
                <a:ext uri="{FF2B5EF4-FFF2-40B4-BE49-F238E27FC236}">
                  <a16:creationId xmlns:a16="http://schemas.microsoft.com/office/drawing/2014/main" id="{B7142242-5D22-493F-97E3-C01B78F5C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1" y="1854"/>
              <a:ext cx="176" cy="118"/>
            </a:xfrm>
            <a:custGeom>
              <a:avLst/>
              <a:gdLst>
                <a:gd name="T0" fmla="*/ 0 w 98"/>
                <a:gd name="T1" fmla="*/ 24 h 66"/>
                <a:gd name="T2" fmla="*/ 59 w 98"/>
                <a:gd name="T3" fmla="*/ 62 h 66"/>
                <a:gd name="T4" fmla="*/ 91 w 98"/>
                <a:gd name="T5" fmla="*/ 0 h 66"/>
                <a:gd name="T6" fmla="*/ 0 w 98"/>
                <a:gd name="T7" fmla="*/ 2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6">
                  <a:moveTo>
                    <a:pt x="0" y="24"/>
                  </a:moveTo>
                  <a:cubicBezTo>
                    <a:pt x="0" y="24"/>
                    <a:pt x="16" y="66"/>
                    <a:pt x="59" y="62"/>
                  </a:cubicBezTo>
                  <a:cubicBezTo>
                    <a:pt x="98" y="59"/>
                    <a:pt x="91" y="0"/>
                    <a:pt x="91" y="0"/>
                  </a:cubicBezTo>
                  <a:lnTo>
                    <a:pt x="0" y="24"/>
                  </a:ln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47">
              <a:extLst>
                <a:ext uri="{FF2B5EF4-FFF2-40B4-BE49-F238E27FC236}">
                  <a16:creationId xmlns:a16="http://schemas.microsoft.com/office/drawing/2014/main" id="{99CF058B-5861-464C-84A9-90BA8C035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3" y="1686"/>
              <a:ext cx="86" cy="132"/>
            </a:xfrm>
            <a:custGeom>
              <a:avLst/>
              <a:gdLst>
                <a:gd name="T0" fmla="*/ 45 w 48"/>
                <a:gd name="T1" fmla="*/ 62 h 74"/>
                <a:gd name="T2" fmla="*/ 13 w 48"/>
                <a:gd name="T3" fmla="*/ 13 h 74"/>
                <a:gd name="T4" fmla="*/ 37 w 48"/>
                <a:gd name="T5" fmla="*/ 21 h 74"/>
                <a:gd name="T6" fmla="*/ 43 w 48"/>
                <a:gd name="T7" fmla="*/ 35 h 74"/>
                <a:gd name="T8" fmla="*/ 47 w 48"/>
                <a:gd name="T9" fmla="*/ 54 h 74"/>
                <a:gd name="T10" fmla="*/ 48 w 48"/>
                <a:gd name="T11" fmla="*/ 59 h 74"/>
                <a:gd name="T12" fmla="*/ 45 w 48"/>
                <a:gd name="T13" fmla="*/ 6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4">
                  <a:moveTo>
                    <a:pt x="45" y="62"/>
                  </a:moveTo>
                  <a:cubicBezTo>
                    <a:pt x="31" y="74"/>
                    <a:pt x="0" y="26"/>
                    <a:pt x="13" y="13"/>
                  </a:cubicBezTo>
                  <a:cubicBezTo>
                    <a:pt x="27" y="0"/>
                    <a:pt x="37" y="21"/>
                    <a:pt x="37" y="21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8" y="59"/>
                    <a:pt x="48" y="59"/>
                    <a:pt x="48" y="59"/>
                  </a:cubicBezTo>
                  <a:lnTo>
                    <a:pt x="45" y="62"/>
                  </a:lnTo>
                  <a:close/>
                </a:path>
              </a:pathLst>
            </a:custGeom>
            <a:solidFill>
              <a:srgbClr val="F39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48">
              <a:extLst>
                <a:ext uri="{FF2B5EF4-FFF2-40B4-BE49-F238E27FC236}">
                  <a16:creationId xmlns:a16="http://schemas.microsoft.com/office/drawing/2014/main" id="{027DD08D-E575-4E7F-9888-E34312607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9" y="1731"/>
              <a:ext cx="35" cy="26"/>
            </a:xfrm>
            <a:custGeom>
              <a:avLst/>
              <a:gdLst>
                <a:gd name="T0" fmla="*/ 0 w 20"/>
                <a:gd name="T1" fmla="*/ 5 h 15"/>
                <a:gd name="T2" fmla="*/ 20 w 20"/>
                <a:gd name="T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0" h="15">
                  <a:moveTo>
                    <a:pt x="0" y="5"/>
                  </a:moveTo>
                  <a:cubicBezTo>
                    <a:pt x="0" y="5"/>
                    <a:pt x="10" y="0"/>
                    <a:pt x="20" y="15"/>
                  </a:cubicBezTo>
                </a:path>
              </a:pathLst>
            </a:custGeom>
            <a:noFill/>
            <a:ln w="12700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49">
              <a:extLst>
                <a:ext uri="{FF2B5EF4-FFF2-40B4-BE49-F238E27FC236}">
                  <a16:creationId xmlns:a16="http://schemas.microsoft.com/office/drawing/2014/main" id="{B2AAAB9E-67CE-4D34-8F96-2C4112928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0" y="1686"/>
              <a:ext cx="91" cy="132"/>
            </a:xfrm>
            <a:custGeom>
              <a:avLst/>
              <a:gdLst>
                <a:gd name="T0" fmla="*/ 4 w 51"/>
                <a:gd name="T1" fmla="*/ 60 h 74"/>
                <a:gd name="T2" fmla="*/ 39 w 51"/>
                <a:gd name="T3" fmla="*/ 14 h 74"/>
                <a:gd name="T4" fmla="*/ 15 w 51"/>
                <a:gd name="T5" fmla="*/ 20 h 74"/>
                <a:gd name="T6" fmla="*/ 8 w 51"/>
                <a:gd name="T7" fmla="*/ 34 h 74"/>
                <a:gd name="T8" fmla="*/ 2 w 51"/>
                <a:gd name="T9" fmla="*/ 53 h 74"/>
                <a:gd name="T10" fmla="*/ 0 w 51"/>
                <a:gd name="T11" fmla="*/ 57 h 74"/>
                <a:gd name="T12" fmla="*/ 4 w 51"/>
                <a:gd name="T13" fmla="*/ 6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74">
                  <a:moveTo>
                    <a:pt x="4" y="60"/>
                  </a:moveTo>
                  <a:cubicBezTo>
                    <a:pt x="17" y="74"/>
                    <a:pt x="51" y="29"/>
                    <a:pt x="39" y="14"/>
                  </a:cubicBezTo>
                  <a:cubicBezTo>
                    <a:pt x="27" y="0"/>
                    <a:pt x="15" y="20"/>
                    <a:pt x="15" y="20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0" y="57"/>
                    <a:pt x="0" y="57"/>
                    <a:pt x="0" y="57"/>
                  </a:cubicBezTo>
                  <a:lnTo>
                    <a:pt x="4" y="60"/>
                  </a:lnTo>
                  <a:close/>
                </a:path>
              </a:pathLst>
            </a:custGeom>
            <a:solidFill>
              <a:srgbClr val="F39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50">
              <a:extLst>
                <a:ext uri="{FF2B5EF4-FFF2-40B4-BE49-F238E27FC236}">
                  <a16:creationId xmlns:a16="http://schemas.microsoft.com/office/drawing/2014/main" id="{A852C795-C8C7-4AB1-A60B-0C6C3ECE4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0" y="1731"/>
              <a:ext cx="35" cy="25"/>
            </a:xfrm>
            <a:custGeom>
              <a:avLst/>
              <a:gdLst>
                <a:gd name="T0" fmla="*/ 20 w 20"/>
                <a:gd name="T1" fmla="*/ 6 h 14"/>
                <a:gd name="T2" fmla="*/ 0 w 20"/>
                <a:gd name="T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0" h="14">
                  <a:moveTo>
                    <a:pt x="20" y="6"/>
                  </a:moveTo>
                  <a:cubicBezTo>
                    <a:pt x="20" y="6"/>
                    <a:pt x="10" y="0"/>
                    <a:pt x="0" y="14"/>
                  </a:cubicBezTo>
                </a:path>
              </a:pathLst>
            </a:custGeom>
            <a:noFill/>
            <a:ln w="12700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Oval 51">
              <a:extLst>
                <a:ext uri="{FF2B5EF4-FFF2-40B4-BE49-F238E27FC236}">
                  <a16:creationId xmlns:a16="http://schemas.microsoft.com/office/drawing/2014/main" id="{A92DFE31-C048-4D02-8411-F0627C0F8D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9" y="1437"/>
              <a:ext cx="386" cy="358"/>
            </a:xfrm>
            <a:prstGeom prst="ellipse">
              <a:avLst/>
            </a:pr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52">
              <a:extLst>
                <a:ext uri="{FF2B5EF4-FFF2-40B4-BE49-F238E27FC236}">
                  <a16:creationId xmlns:a16="http://schemas.microsoft.com/office/drawing/2014/main" id="{4616A78A-BCA3-4FFD-901E-A46113A4C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5" y="1460"/>
              <a:ext cx="358" cy="471"/>
            </a:xfrm>
            <a:custGeom>
              <a:avLst/>
              <a:gdLst>
                <a:gd name="T0" fmla="*/ 6 w 200"/>
                <a:gd name="T1" fmla="*/ 98 h 263"/>
                <a:gd name="T2" fmla="*/ 17 w 200"/>
                <a:gd name="T3" fmla="*/ 194 h 263"/>
                <a:gd name="T4" fmla="*/ 59 w 200"/>
                <a:gd name="T5" fmla="*/ 246 h 263"/>
                <a:gd name="T6" fmla="*/ 63 w 200"/>
                <a:gd name="T7" fmla="*/ 249 h 263"/>
                <a:gd name="T8" fmla="*/ 137 w 200"/>
                <a:gd name="T9" fmla="*/ 250 h 263"/>
                <a:gd name="T10" fmla="*/ 137 w 200"/>
                <a:gd name="T11" fmla="*/ 250 h 263"/>
                <a:gd name="T12" fmla="*/ 181 w 200"/>
                <a:gd name="T13" fmla="*/ 194 h 263"/>
                <a:gd name="T14" fmla="*/ 191 w 200"/>
                <a:gd name="T15" fmla="*/ 98 h 263"/>
                <a:gd name="T16" fmla="*/ 100 w 200"/>
                <a:gd name="T17" fmla="*/ 2 h 263"/>
                <a:gd name="T18" fmla="*/ 6 w 200"/>
                <a:gd name="T19" fmla="*/ 9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63">
                  <a:moveTo>
                    <a:pt x="6" y="98"/>
                  </a:moveTo>
                  <a:cubicBezTo>
                    <a:pt x="6" y="137"/>
                    <a:pt x="11" y="170"/>
                    <a:pt x="17" y="194"/>
                  </a:cubicBezTo>
                  <a:cubicBezTo>
                    <a:pt x="22" y="217"/>
                    <a:pt x="37" y="233"/>
                    <a:pt x="59" y="246"/>
                  </a:cubicBezTo>
                  <a:cubicBezTo>
                    <a:pt x="63" y="249"/>
                    <a:pt x="63" y="249"/>
                    <a:pt x="63" y="249"/>
                  </a:cubicBezTo>
                  <a:cubicBezTo>
                    <a:pt x="85" y="263"/>
                    <a:pt x="114" y="263"/>
                    <a:pt x="137" y="250"/>
                  </a:cubicBezTo>
                  <a:cubicBezTo>
                    <a:pt x="137" y="250"/>
                    <a:pt x="137" y="250"/>
                    <a:pt x="137" y="250"/>
                  </a:cubicBezTo>
                  <a:cubicBezTo>
                    <a:pt x="160" y="236"/>
                    <a:pt x="176" y="219"/>
                    <a:pt x="181" y="194"/>
                  </a:cubicBezTo>
                  <a:cubicBezTo>
                    <a:pt x="190" y="148"/>
                    <a:pt x="191" y="98"/>
                    <a:pt x="191" y="98"/>
                  </a:cubicBezTo>
                  <a:cubicBezTo>
                    <a:pt x="191" y="98"/>
                    <a:pt x="200" y="0"/>
                    <a:pt x="100" y="2"/>
                  </a:cubicBezTo>
                  <a:cubicBezTo>
                    <a:pt x="0" y="4"/>
                    <a:pt x="6" y="98"/>
                    <a:pt x="6" y="98"/>
                  </a:cubicBez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53">
              <a:extLst>
                <a:ext uri="{FF2B5EF4-FFF2-40B4-BE49-F238E27FC236}">
                  <a16:creationId xmlns:a16="http://schemas.microsoft.com/office/drawing/2014/main" id="{250E5050-C9A9-436A-893B-3C02E1C1C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1" y="1736"/>
              <a:ext cx="23" cy="36"/>
            </a:xfrm>
            <a:custGeom>
              <a:avLst/>
              <a:gdLst>
                <a:gd name="T0" fmla="*/ 0 w 13"/>
                <a:gd name="T1" fmla="*/ 0 h 20"/>
                <a:gd name="T2" fmla="*/ 0 w 13"/>
                <a:gd name="T3" fmla="*/ 13 h 20"/>
                <a:gd name="T4" fmla="*/ 0 w 13"/>
                <a:gd name="T5" fmla="*/ 16 h 20"/>
                <a:gd name="T6" fmla="*/ 7 w 13"/>
                <a:gd name="T7" fmla="*/ 19 h 20"/>
                <a:gd name="T8" fmla="*/ 13 w 13"/>
                <a:gd name="T9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0">
                  <a:moveTo>
                    <a:pt x="0" y="0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5"/>
                    <a:pt x="0" y="16"/>
                  </a:cubicBezTo>
                  <a:cubicBezTo>
                    <a:pt x="1" y="18"/>
                    <a:pt x="4" y="20"/>
                    <a:pt x="7" y="19"/>
                  </a:cubicBezTo>
                  <a:cubicBezTo>
                    <a:pt x="13" y="17"/>
                    <a:pt x="13" y="17"/>
                    <a:pt x="13" y="17"/>
                  </a:cubicBezTo>
                </a:path>
              </a:pathLst>
            </a:custGeom>
            <a:noFill/>
            <a:ln w="14288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54">
              <a:extLst>
                <a:ext uri="{FF2B5EF4-FFF2-40B4-BE49-F238E27FC236}">
                  <a16:creationId xmlns:a16="http://schemas.microsoft.com/office/drawing/2014/main" id="{90E8A109-822F-4567-B726-45963D3F96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3" y="1623"/>
              <a:ext cx="90" cy="40"/>
            </a:xfrm>
            <a:custGeom>
              <a:avLst/>
              <a:gdLst>
                <a:gd name="T0" fmla="*/ 50 w 50"/>
                <a:gd name="T1" fmla="*/ 10 h 22"/>
                <a:gd name="T2" fmla="*/ 0 w 50"/>
                <a:gd name="T3" fmla="*/ 22 h 22"/>
                <a:gd name="T4" fmla="*/ 23 w 50"/>
                <a:gd name="T5" fmla="*/ 5 h 22"/>
                <a:gd name="T6" fmla="*/ 50 w 50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22">
                  <a:moveTo>
                    <a:pt x="50" y="1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2" y="9"/>
                    <a:pt x="23" y="5"/>
                  </a:cubicBezTo>
                  <a:cubicBezTo>
                    <a:pt x="43" y="0"/>
                    <a:pt x="50" y="10"/>
                    <a:pt x="50" y="10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55">
              <a:extLst>
                <a:ext uri="{FF2B5EF4-FFF2-40B4-BE49-F238E27FC236}">
                  <a16:creationId xmlns:a16="http://schemas.microsoft.com/office/drawing/2014/main" id="{F4D55671-EBA4-4F66-95BE-259AEB2873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1" y="1623"/>
              <a:ext cx="86" cy="40"/>
            </a:xfrm>
            <a:custGeom>
              <a:avLst/>
              <a:gdLst>
                <a:gd name="T0" fmla="*/ 0 w 48"/>
                <a:gd name="T1" fmla="*/ 10 h 22"/>
                <a:gd name="T2" fmla="*/ 48 w 48"/>
                <a:gd name="T3" fmla="*/ 22 h 22"/>
                <a:gd name="T4" fmla="*/ 26 w 48"/>
                <a:gd name="T5" fmla="*/ 5 h 22"/>
                <a:gd name="T6" fmla="*/ 0 w 48"/>
                <a:gd name="T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22">
                  <a:moveTo>
                    <a:pt x="0" y="10"/>
                  </a:moveTo>
                  <a:cubicBezTo>
                    <a:pt x="48" y="22"/>
                    <a:pt x="48" y="22"/>
                    <a:pt x="48" y="22"/>
                  </a:cubicBezTo>
                  <a:cubicBezTo>
                    <a:pt x="48" y="22"/>
                    <a:pt x="46" y="9"/>
                    <a:pt x="26" y="5"/>
                  </a:cubicBezTo>
                  <a:cubicBezTo>
                    <a:pt x="6" y="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Oval 56">
              <a:extLst>
                <a:ext uri="{FF2B5EF4-FFF2-40B4-BE49-F238E27FC236}">
                  <a16:creationId xmlns:a16="http://schemas.microsoft.com/office/drawing/2014/main" id="{5D540C9D-A514-48F6-8EA5-845B0651AB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82" y="1691"/>
              <a:ext cx="31" cy="31"/>
            </a:xfrm>
            <a:prstGeom prst="ellipse">
              <a:avLst/>
            </a:pr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Oval 57">
              <a:extLst>
                <a:ext uri="{FF2B5EF4-FFF2-40B4-BE49-F238E27FC236}">
                  <a16:creationId xmlns:a16="http://schemas.microsoft.com/office/drawing/2014/main" id="{A2DFE7D6-3608-43D2-A5F5-AF222CC3AB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26" y="1691"/>
              <a:ext cx="30" cy="31"/>
            </a:xfrm>
            <a:prstGeom prst="ellipse">
              <a:avLst/>
            </a:pr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58">
              <a:extLst>
                <a:ext uri="{FF2B5EF4-FFF2-40B4-BE49-F238E27FC236}">
                  <a16:creationId xmlns:a16="http://schemas.microsoft.com/office/drawing/2014/main" id="{9591E05A-16A9-4707-98DB-83ADE7663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3" y="1799"/>
              <a:ext cx="116" cy="62"/>
            </a:xfrm>
            <a:custGeom>
              <a:avLst/>
              <a:gdLst>
                <a:gd name="T0" fmla="*/ 0 w 65"/>
                <a:gd name="T1" fmla="*/ 0 h 35"/>
                <a:gd name="T2" fmla="*/ 65 w 65"/>
                <a:gd name="T3" fmla="*/ 0 h 35"/>
                <a:gd name="T4" fmla="*/ 0 w 65"/>
                <a:gd name="T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5" h="35">
                  <a:moveTo>
                    <a:pt x="0" y="0"/>
                  </a:moveTo>
                  <a:cubicBezTo>
                    <a:pt x="65" y="0"/>
                    <a:pt x="65" y="0"/>
                    <a:pt x="65" y="0"/>
                  </a:cubicBezTo>
                  <a:cubicBezTo>
                    <a:pt x="65" y="0"/>
                    <a:pt x="36" y="35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Oval 59">
              <a:extLst>
                <a:ext uri="{FF2B5EF4-FFF2-40B4-BE49-F238E27FC236}">
                  <a16:creationId xmlns:a16="http://schemas.microsoft.com/office/drawing/2014/main" id="{BF964E24-2BB3-46D9-9E26-6D5DED4798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9" y="1648"/>
              <a:ext cx="127" cy="129"/>
            </a:xfrm>
            <a:prstGeom prst="ellipse">
              <a:avLst/>
            </a:prstGeom>
            <a:noFill/>
            <a:ln w="14288" cap="flat">
              <a:solidFill>
                <a:srgbClr val="C98BD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Oval 60">
              <a:extLst>
                <a:ext uri="{FF2B5EF4-FFF2-40B4-BE49-F238E27FC236}">
                  <a16:creationId xmlns:a16="http://schemas.microsoft.com/office/drawing/2014/main" id="{12EA4581-3D35-4430-BE7D-6BDC798D16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84" y="1648"/>
              <a:ext cx="128" cy="129"/>
            </a:xfrm>
            <a:prstGeom prst="ellipse">
              <a:avLst/>
            </a:prstGeom>
            <a:noFill/>
            <a:ln w="14288" cap="flat">
              <a:solidFill>
                <a:srgbClr val="C98BD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61">
              <a:extLst>
                <a:ext uri="{FF2B5EF4-FFF2-40B4-BE49-F238E27FC236}">
                  <a16:creationId xmlns:a16="http://schemas.microsoft.com/office/drawing/2014/main" id="{B78359CE-D160-40E0-A35B-E00382B60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6" y="1698"/>
              <a:ext cx="28" cy="15"/>
            </a:xfrm>
            <a:custGeom>
              <a:avLst/>
              <a:gdLst>
                <a:gd name="T0" fmla="*/ 0 w 16"/>
                <a:gd name="T1" fmla="*/ 8 h 8"/>
                <a:gd name="T2" fmla="*/ 16 w 16"/>
                <a:gd name="T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8">
                  <a:moveTo>
                    <a:pt x="0" y="8"/>
                  </a:moveTo>
                  <a:cubicBezTo>
                    <a:pt x="0" y="8"/>
                    <a:pt x="8" y="0"/>
                    <a:pt x="16" y="8"/>
                  </a:cubicBezTo>
                </a:path>
              </a:pathLst>
            </a:custGeom>
            <a:noFill/>
            <a:ln w="14288" cap="flat">
              <a:solidFill>
                <a:srgbClr val="C98BD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Line 62">
              <a:extLst>
                <a:ext uri="{FF2B5EF4-FFF2-40B4-BE49-F238E27FC236}">
                  <a16:creationId xmlns:a16="http://schemas.microsoft.com/office/drawing/2014/main" id="{4DC1542B-7044-4243-B409-D6D10ECD9FD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707" y="1713"/>
              <a:ext cx="22" cy="0"/>
            </a:xfrm>
            <a:prstGeom prst="line">
              <a:avLst/>
            </a:prstGeom>
            <a:noFill/>
            <a:ln w="14288" cap="flat">
              <a:solidFill>
                <a:srgbClr val="C98BD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Line 63">
              <a:extLst>
                <a:ext uri="{FF2B5EF4-FFF2-40B4-BE49-F238E27FC236}">
                  <a16:creationId xmlns:a16="http://schemas.microsoft.com/office/drawing/2014/main" id="{C30E68B7-DA37-4EEB-8064-98D30A161F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12" y="1713"/>
              <a:ext cx="21" cy="0"/>
            </a:xfrm>
            <a:prstGeom prst="line">
              <a:avLst/>
            </a:prstGeom>
            <a:noFill/>
            <a:ln w="14288" cap="flat">
              <a:solidFill>
                <a:srgbClr val="C98BD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64">
              <a:extLst>
                <a:ext uri="{FF2B5EF4-FFF2-40B4-BE49-F238E27FC236}">
                  <a16:creationId xmlns:a16="http://schemas.microsoft.com/office/drawing/2014/main" id="{6033B905-E438-454B-A64B-64DDA8E3A9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3" y="1500"/>
              <a:ext cx="97" cy="193"/>
            </a:xfrm>
            <a:custGeom>
              <a:avLst/>
              <a:gdLst>
                <a:gd name="T0" fmla="*/ 40 w 54"/>
                <a:gd name="T1" fmla="*/ 108 h 108"/>
                <a:gd name="T2" fmla="*/ 9 w 54"/>
                <a:gd name="T3" fmla="*/ 0 h 108"/>
                <a:gd name="T4" fmla="*/ 47 w 54"/>
                <a:gd name="T5" fmla="*/ 53 h 108"/>
                <a:gd name="T6" fmla="*/ 40 w 54"/>
                <a:gd name="T7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108">
                  <a:moveTo>
                    <a:pt x="40" y="108"/>
                  </a:moveTo>
                  <a:cubicBezTo>
                    <a:pt x="40" y="108"/>
                    <a:pt x="0" y="54"/>
                    <a:pt x="9" y="0"/>
                  </a:cubicBezTo>
                  <a:cubicBezTo>
                    <a:pt x="9" y="0"/>
                    <a:pt x="39" y="15"/>
                    <a:pt x="47" y="53"/>
                  </a:cubicBezTo>
                  <a:cubicBezTo>
                    <a:pt x="54" y="92"/>
                    <a:pt x="40" y="108"/>
                    <a:pt x="40" y="108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65">
              <a:extLst>
                <a:ext uri="{FF2B5EF4-FFF2-40B4-BE49-F238E27FC236}">
                  <a16:creationId xmlns:a16="http://schemas.microsoft.com/office/drawing/2014/main" id="{F490C9F9-6EAD-4F9A-A6B6-7275B6A96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6" y="1492"/>
              <a:ext cx="102" cy="208"/>
            </a:xfrm>
            <a:custGeom>
              <a:avLst/>
              <a:gdLst>
                <a:gd name="T0" fmla="*/ 11 w 57"/>
                <a:gd name="T1" fmla="*/ 116 h 116"/>
                <a:gd name="T2" fmla="*/ 48 w 57"/>
                <a:gd name="T3" fmla="*/ 0 h 116"/>
                <a:gd name="T4" fmla="*/ 8 w 57"/>
                <a:gd name="T5" fmla="*/ 57 h 116"/>
                <a:gd name="T6" fmla="*/ 11 w 57"/>
                <a:gd name="T7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116">
                  <a:moveTo>
                    <a:pt x="11" y="116"/>
                  </a:moveTo>
                  <a:cubicBezTo>
                    <a:pt x="11" y="116"/>
                    <a:pt x="57" y="55"/>
                    <a:pt x="48" y="0"/>
                  </a:cubicBezTo>
                  <a:cubicBezTo>
                    <a:pt x="48" y="0"/>
                    <a:pt x="16" y="19"/>
                    <a:pt x="8" y="57"/>
                  </a:cubicBezTo>
                  <a:cubicBezTo>
                    <a:pt x="0" y="96"/>
                    <a:pt x="11" y="116"/>
                    <a:pt x="11" y="116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66">
              <a:extLst>
                <a:ext uri="{FF2B5EF4-FFF2-40B4-BE49-F238E27FC236}">
                  <a16:creationId xmlns:a16="http://schemas.microsoft.com/office/drawing/2014/main" id="{D7CB0412-AE78-4D60-AB88-059480BA4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6" y="1440"/>
              <a:ext cx="344" cy="197"/>
            </a:xfrm>
            <a:custGeom>
              <a:avLst/>
              <a:gdLst>
                <a:gd name="T0" fmla="*/ 192 w 192"/>
                <a:gd name="T1" fmla="*/ 54 h 110"/>
                <a:gd name="T2" fmla="*/ 0 w 192"/>
                <a:gd name="T3" fmla="*/ 101 h 110"/>
                <a:gd name="T4" fmla="*/ 90 w 192"/>
                <a:gd name="T5" fmla="*/ 10 h 110"/>
                <a:gd name="T6" fmla="*/ 192 w 192"/>
                <a:gd name="T7" fmla="*/ 5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2" h="110">
                  <a:moveTo>
                    <a:pt x="192" y="54"/>
                  </a:moveTo>
                  <a:cubicBezTo>
                    <a:pt x="192" y="54"/>
                    <a:pt x="140" y="110"/>
                    <a:pt x="0" y="101"/>
                  </a:cubicBezTo>
                  <a:cubicBezTo>
                    <a:pt x="0" y="101"/>
                    <a:pt x="21" y="18"/>
                    <a:pt x="90" y="10"/>
                  </a:cubicBezTo>
                  <a:cubicBezTo>
                    <a:pt x="90" y="10"/>
                    <a:pt x="168" y="0"/>
                    <a:pt x="192" y="54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Oval 67">
              <a:extLst>
                <a:ext uri="{FF2B5EF4-FFF2-40B4-BE49-F238E27FC236}">
                  <a16:creationId xmlns:a16="http://schemas.microsoft.com/office/drawing/2014/main" id="{45868B18-4968-4757-87FD-CA7762E959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2" y="1299"/>
              <a:ext cx="240" cy="242"/>
            </a:xfrm>
            <a:prstGeom prst="ellipse">
              <a:avLst/>
            </a:pr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68">
              <a:extLst>
                <a:ext uri="{FF2B5EF4-FFF2-40B4-BE49-F238E27FC236}">
                  <a16:creationId xmlns:a16="http://schemas.microsoft.com/office/drawing/2014/main" id="{D508C056-EB1E-4FEA-8ADB-1757B305E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3" y="2691"/>
              <a:ext cx="768" cy="1212"/>
            </a:xfrm>
            <a:custGeom>
              <a:avLst/>
              <a:gdLst>
                <a:gd name="T0" fmla="*/ 349 w 429"/>
                <a:gd name="T1" fmla="*/ 31 h 677"/>
                <a:gd name="T2" fmla="*/ 224 w 429"/>
                <a:gd name="T3" fmla="*/ 15 h 677"/>
                <a:gd name="T4" fmla="*/ 225 w 429"/>
                <a:gd name="T5" fmla="*/ 0 h 677"/>
                <a:gd name="T6" fmla="*/ 79 w 429"/>
                <a:gd name="T7" fmla="*/ 19 h 677"/>
                <a:gd name="T8" fmla="*/ 70 w 429"/>
                <a:gd name="T9" fmla="*/ 677 h 677"/>
                <a:gd name="T10" fmla="*/ 172 w 429"/>
                <a:gd name="T11" fmla="*/ 677 h 677"/>
                <a:gd name="T12" fmla="*/ 207 w 429"/>
                <a:gd name="T13" fmla="*/ 227 h 677"/>
                <a:gd name="T14" fmla="*/ 220 w 429"/>
                <a:gd name="T15" fmla="*/ 227 h 677"/>
                <a:gd name="T16" fmla="*/ 257 w 429"/>
                <a:gd name="T17" fmla="*/ 677 h 677"/>
                <a:gd name="T18" fmla="*/ 358 w 429"/>
                <a:gd name="T19" fmla="*/ 677 h 677"/>
                <a:gd name="T20" fmla="*/ 349 w 429"/>
                <a:gd name="T21" fmla="*/ 31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9" h="677">
                  <a:moveTo>
                    <a:pt x="349" y="31"/>
                  </a:moveTo>
                  <a:cubicBezTo>
                    <a:pt x="224" y="15"/>
                    <a:pt x="224" y="15"/>
                    <a:pt x="224" y="15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0" y="233"/>
                    <a:pt x="70" y="677"/>
                  </a:cubicBezTo>
                  <a:cubicBezTo>
                    <a:pt x="172" y="677"/>
                    <a:pt x="172" y="677"/>
                    <a:pt x="172" y="677"/>
                  </a:cubicBezTo>
                  <a:cubicBezTo>
                    <a:pt x="207" y="227"/>
                    <a:pt x="207" y="227"/>
                    <a:pt x="207" y="227"/>
                  </a:cubicBezTo>
                  <a:cubicBezTo>
                    <a:pt x="220" y="227"/>
                    <a:pt x="220" y="227"/>
                    <a:pt x="220" y="227"/>
                  </a:cubicBezTo>
                  <a:cubicBezTo>
                    <a:pt x="257" y="677"/>
                    <a:pt x="257" y="677"/>
                    <a:pt x="257" y="677"/>
                  </a:cubicBezTo>
                  <a:cubicBezTo>
                    <a:pt x="358" y="677"/>
                    <a:pt x="358" y="677"/>
                    <a:pt x="358" y="677"/>
                  </a:cubicBezTo>
                  <a:cubicBezTo>
                    <a:pt x="429" y="233"/>
                    <a:pt x="349" y="31"/>
                    <a:pt x="349" y="31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69">
              <a:extLst>
                <a:ext uri="{FF2B5EF4-FFF2-40B4-BE49-F238E27FC236}">
                  <a16:creationId xmlns:a16="http://schemas.microsoft.com/office/drawing/2014/main" id="{C0443A4E-321F-44AF-BB10-E1B85BA62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4" y="1408"/>
              <a:ext cx="784" cy="663"/>
            </a:xfrm>
            <a:custGeom>
              <a:avLst/>
              <a:gdLst>
                <a:gd name="T0" fmla="*/ 355 w 438"/>
                <a:gd name="T1" fmla="*/ 140 h 370"/>
                <a:gd name="T2" fmla="*/ 313 w 438"/>
                <a:gd name="T3" fmla="*/ 64 h 370"/>
                <a:gd name="T4" fmla="*/ 260 w 438"/>
                <a:gd name="T5" fmla="*/ 43 h 370"/>
                <a:gd name="T6" fmla="*/ 176 w 438"/>
                <a:gd name="T7" fmla="*/ 15 h 370"/>
                <a:gd name="T8" fmla="*/ 107 w 438"/>
                <a:gd name="T9" fmla="*/ 109 h 370"/>
                <a:gd name="T10" fmla="*/ 46 w 438"/>
                <a:gd name="T11" fmla="*/ 208 h 370"/>
                <a:gd name="T12" fmla="*/ 218 w 438"/>
                <a:gd name="T13" fmla="*/ 349 h 370"/>
                <a:gd name="T14" fmla="*/ 218 w 438"/>
                <a:gd name="T15" fmla="*/ 348 h 370"/>
                <a:gd name="T16" fmla="*/ 269 w 438"/>
                <a:gd name="T17" fmla="*/ 353 h 370"/>
                <a:gd name="T18" fmla="*/ 355 w 438"/>
                <a:gd name="T19" fmla="*/ 14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8" h="370">
                  <a:moveTo>
                    <a:pt x="355" y="140"/>
                  </a:moveTo>
                  <a:cubicBezTo>
                    <a:pt x="338" y="120"/>
                    <a:pt x="325" y="97"/>
                    <a:pt x="313" y="64"/>
                  </a:cubicBezTo>
                  <a:cubicBezTo>
                    <a:pt x="301" y="29"/>
                    <a:pt x="260" y="43"/>
                    <a:pt x="260" y="43"/>
                  </a:cubicBezTo>
                  <a:cubicBezTo>
                    <a:pt x="260" y="43"/>
                    <a:pt x="227" y="0"/>
                    <a:pt x="176" y="15"/>
                  </a:cubicBezTo>
                  <a:cubicBezTo>
                    <a:pt x="125" y="30"/>
                    <a:pt x="108" y="66"/>
                    <a:pt x="107" y="109"/>
                  </a:cubicBezTo>
                  <a:cubicBezTo>
                    <a:pt x="106" y="152"/>
                    <a:pt x="72" y="159"/>
                    <a:pt x="46" y="208"/>
                  </a:cubicBezTo>
                  <a:cubicBezTo>
                    <a:pt x="0" y="296"/>
                    <a:pt x="77" y="370"/>
                    <a:pt x="218" y="349"/>
                  </a:cubicBezTo>
                  <a:cubicBezTo>
                    <a:pt x="218" y="348"/>
                    <a:pt x="218" y="348"/>
                    <a:pt x="218" y="348"/>
                  </a:cubicBezTo>
                  <a:cubicBezTo>
                    <a:pt x="232" y="352"/>
                    <a:pt x="249" y="354"/>
                    <a:pt x="269" y="353"/>
                  </a:cubicBezTo>
                  <a:cubicBezTo>
                    <a:pt x="438" y="343"/>
                    <a:pt x="422" y="219"/>
                    <a:pt x="355" y="140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70">
              <a:extLst>
                <a:ext uri="{FF2B5EF4-FFF2-40B4-BE49-F238E27FC236}">
                  <a16:creationId xmlns:a16="http://schemas.microsoft.com/office/drawing/2014/main" id="{BB2AF956-26CA-4F00-A25B-15BFF0C09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4" y="1664"/>
              <a:ext cx="88" cy="133"/>
            </a:xfrm>
            <a:custGeom>
              <a:avLst/>
              <a:gdLst>
                <a:gd name="T0" fmla="*/ 4 w 49"/>
                <a:gd name="T1" fmla="*/ 62 h 74"/>
                <a:gd name="T2" fmla="*/ 35 w 49"/>
                <a:gd name="T3" fmla="*/ 13 h 74"/>
                <a:gd name="T4" fmla="*/ 12 w 49"/>
                <a:gd name="T5" fmla="*/ 21 h 74"/>
                <a:gd name="T6" fmla="*/ 6 w 49"/>
                <a:gd name="T7" fmla="*/ 35 h 74"/>
                <a:gd name="T8" fmla="*/ 1 w 49"/>
                <a:gd name="T9" fmla="*/ 54 h 74"/>
                <a:gd name="T10" fmla="*/ 0 w 49"/>
                <a:gd name="T11" fmla="*/ 59 h 74"/>
                <a:gd name="T12" fmla="*/ 4 w 49"/>
                <a:gd name="T13" fmla="*/ 6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74">
                  <a:moveTo>
                    <a:pt x="4" y="62"/>
                  </a:moveTo>
                  <a:cubicBezTo>
                    <a:pt x="18" y="74"/>
                    <a:pt x="49" y="27"/>
                    <a:pt x="35" y="13"/>
                  </a:cubicBezTo>
                  <a:cubicBezTo>
                    <a:pt x="22" y="0"/>
                    <a:pt x="12" y="21"/>
                    <a:pt x="12" y="2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0" y="59"/>
                    <a:pt x="0" y="59"/>
                    <a:pt x="0" y="59"/>
                  </a:cubicBezTo>
                  <a:lnTo>
                    <a:pt x="4" y="62"/>
                  </a:lnTo>
                  <a:close/>
                </a:path>
              </a:pathLst>
            </a:custGeom>
            <a:solidFill>
              <a:srgbClr val="F39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71">
              <a:extLst>
                <a:ext uri="{FF2B5EF4-FFF2-40B4-BE49-F238E27FC236}">
                  <a16:creationId xmlns:a16="http://schemas.microsoft.com/office/drawing/2014/main" id="{F2D5C6DF-BBCD-4B19-91E6-176746358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0" y="1709"/>
              <a:ext cx="36" cy="29"/>
            </a:xfrm>
            <a:custGeom>
              <a:avLst/>
              <a:gdLst>
                <a:gd name="T0" fmla="*/ 20 w 20"/>
                <a:gd name="T1" fmla="*/ 5 h 16"/>
                <a:gd name="T2" fmla="*/ 0 w 20"/>
                <a:gd name="T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0" h="16">
                  <a:moveTo>
                    <a:pt x="20" y="5"/>
                  </a:moveTo>
                  <a:cubicBezTo>
                    <a:pt x="20" y="5"/>
                    <a:pt x="9" y="0"/>
                    <a:pt x="0" y="16"/>
                  </a:cubicBezTo>
                </a:path>
              </a:pathLst>
            </a:custGeom>
            <a:noFill/>
            <a:ln w="12700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72">
              <a:extLst>
                <a:ext uri="{FF2B5EF4-FFF2-40B4-BE49-F238E27FC236}">
                  <a16:creationId xmlns:a16="http://schemas.microsoft.com/office/drawing/2014/main" id="{B73516FD-BF33-472F-B774-8D7936DB8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1" y="1664"/>
              <a:ext cx="92" cy="133"/>
            </a:xfrm>
            <a:custGeom>
              <a:avLst/>
              <a:gdLst>
                <a:gd name="T0" fmla="*/ 48 w 51"/>
                <a:gd name="T1" fmla="*/ 60 h 74"/>
                <a:gd name="T2" fmla="*/ 12 w 51"/>
                <a:gd name="T3" fmla="*/ 15 h 74"/>
                <a:gd name="T4" fmla="*/ 36 w 51"/>
                <a:gd name="T5" fmla="*/ 20 h 74"/>
                <a:gd name="T6" fmla="*/ 44 w 51"/>
                <a:gd name="T7" fmla="*/ 34 h 74"/>
                <a:gd name="T8" fmla="*/ 50 w 51"/>
                <a:gd name="T9" fmla="*/ 53 h 74"/>
                <a:gd name="T10" fmla="*/ 51 w 51"/>
                <a:gd name="T11" fmla="*/ 58 h 74"/>
                <a:gd name="T12" fmla="*/ 48 w 51"/>
                <a:gd name="T13" fmla="*/ 6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74">
                  <a:moveTo>
                    <a:pt x="48" y="60"/>
                  </a:moveTo>
                  <a:cubicBezTo>
                    <a:pt x="35" y="74"/>
                    <a:pt x="0" y="29"/>
                    <a:pt x="12" y="15"/>
                  </a:cubicBezTo>
                  <a:cubicBezTo>
                    <a:pt x="24" y="0"/>
                    <a:pt x="36" y="20"/>
                    <a:pt x="36" y="20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1" y="58"/>
                    <a:pt x="51" y="58"/>
                    <a:pt x="51" y="58"/>
                  </a:cubicBezTo>
                  <a:lnTo>
                    <a:pt x="48" y="60"/>
                  </a:lnTo>
                  <a:close/>
                </a:path>
              </a:pathLst>
            </a:custGeom>
            <a:solidFill>
              <a:srgbClr val="F39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73">
              <a:extLst>
                <a:ext uri="{FF2B5EF4-FFF2-40B4-BE49-F238E27FC236}">
                  <a16:creationId xmlns:a16="http://schemas.microsoft.com/office/drawing/2014/main" id="{5E677B3B-571C-4486-8C6E-8F8AC0F41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" y="1709"/>
              <a:ext cx="38" cy="27"/>
            </a:xfrm>
            <a:custGeom>
              <a:avLst/>
              <a:gdLst>
                <a:gd name="T0" fmla="*/ 0 w 21"/>
                <a:gd name="T1" fmla="*/ 6 h 15"/>
                <a:gd name="T2" fmla="*/ 21 w 21"/>
                <a:gd name="T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5">
                  <a:moveTo>
                    <a:pt x="0" y="6"/>
                  </a:moveTo>
                  <a:cubicBezTo>
                    <a:pt x="0" y="6"/>
                    <a:pt x="10" y="0"/>
                    <a:pt x="21" y="15"/>
                  </a:cubicBezTo>
                </a:path>
              </a:pathLst>
            </a:custGeom>
            <a:noFill/>
            <a:ln w="12700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Oval 74">
              <a:extLst>
                <a:ext uri="{FF2B5EF4-FFF2-40B4-BE49-F238E27FC236}">
                  <a16:creationId xmlns:a16="http://schemas.microsoft.com/office/drawing/2014/main" id="{E7C9F462-91C7-4BDD-8A37-E2232F9325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9" y="1417"/>
              <a:ext cx="385" cy="357"/>
            </a:xfrm>
            <a:prstGeom prst="ellipse">
              <a:avLst/>
            </a:pr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Rectangle 75">
              <a:extLst>
                <a:ext uri="{FF2B5EF4-FFF2-40B4-BE49-F238E27FC236}">
                  <a16:creationId xmlns:a16="http://schemas.microsoft.com/office/drawing/2014/main" id="{76D42C7B-070F-49BB-9AE3-6F1941C785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2" y="1860"/>
              <a:ext cx="157" cy="204"/>
            </a:xfrm>
            <a:prstGeom prst="rect">
              <a:avLst/>
            </a:pr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 76">
              <a:extLst>
                <a:ext uri="{FF2B5EF4-FFF2-40B4-BE49-F238E27FC236}">
                  <a16:creationId xmlns:a16="http://schemas.microsoft.com/office/drawing/2014/main" id="{50415FA7-0AF7-4D30-94D9-0F9DD7AFD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9" y="1845"/>
              <a:ext cx="195" cy="106"/>
            </a:xfrm>
            <a:custGeom>
              <a:avLst/>
              <a:gdLst>
                <a:gd name="T0" fmla="*/ 0 w 109"/>
                <a:gd name="T1" fmla="*/ 0 h 59"/>
                <a:gd name="T2" fmla="*/ 55 w 109"/>
                <a:gd name="T3" fmla="*/ 57 h 59"/>
                <a:gd name="T4" fmla="*/ 79 w 109"/>
                <a:gd name="T5" fmla="*/ 56 h 59"/>
                <a:gd name="T6" fmla="*/ 108 w 109"/>
                <a:gd name="T7" fmla="*/ 16 h 59"/>
                <a:gd name="T8" fmla="*/ 109 w 109"/>
                <a:gd name="T9" fmla="*/ 5 h 59"/>
                <a:gd name="T10" fmla="*/ 0 w 109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" h="59">
                  <a:moveTo>
                    <a:pt x="0" y="0"/>
                  </a:moveTo>
                  <a:cubicBezTo>
                    <a:pt x="0" y="0"/>
                    <a:pt x="24" y="50"/>
                    <a:pt x="55" y="57"/>
                  </a:cubicBezTo>
                  <a:cubicBezTo>
                    <a:pt x="63" y="59"/>
                    <a:pt x="72" y="59"/>
                    <a:pt x="79" y="56"/>
                  </a:cubicBezTo>
                  <a:cubicBezTo>
                    <a:pt x="91" y="52"/>
                    <a:pt x="105" y="35"/>
                    <a:pt x="108" y="16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109" y="5"/>
                    <a:pt x="55" y="35"/>
                    <a:pt x="0" y="0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 77">
              <a:extLst>
                <a:ext uri="{FF2B5EF4-FFF2-40B4-BE49-F238E27FC236}">
                  <a16:creationId xmlns:a16="http://schemas.microsoft.com/office/drawing/2014/main" id="{860580BF-F505-426E-91C6-F8D58BCDD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0" y="1439"/>
              <a:ext cx="358" cy="471"/>
            </a:xfrm>
            <a:custGeom>
              <a:avLst/>
              <a:gdLst>
                <a:gd name="T0" fmla="*/ 194 w 200"/>
                <a:gd name="T1" fmla="*/ 98 h 263"/>
                <a:gd name="T2" fmla="*/ 183 w 200"/>
                <a:gd name="T3" fmla="*/ 194 h 263"/>
                <a:gd name="T4" fmla="*/ 142 w 200"/>
                <a:gd name="T5" fmla="*/ 247 h 263"/>
                <a:gd name="T6" fmla="*/ 138 w 200"/>
                <a:gd name="T7" fmla="*/ 249 h 263"/>
                <a:gd name="T8" fmla="*/ 63 w 200"/>
                <a:gd name="T9" fmla="*/ 250 h 263"/>
                <a:gd name="T10" fmla="*/ 63 w 200"/>
                <a:gd name="T11" fmla="*/ 250 h 263"/>
                <a:gd name="T12" fmla="*/ 19 w 200"/>
                <a:gd name="T13" fmla="*/ 194 h 263"/>
                <a:gd name="T14" fmla="*/ 9 w 200"/>
                <a:gd name="T15" fmla="*/ 98 h 263"/>
                <a:gd name="T16" fmla="*/ 100 w 200"/>
                <a:gd name="T17" fmla="*/ 2 h 263"/>
                <a:gd name="T18" fmla="*/ 194 w 200"/>
                <a:gd name="T19" fmla="*/ 9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63">
                  <a:moveTo>
                    <a:pt x="194" y="98"/>
                  </a:moveTo>
                  <a:cubicBezTo>
                    <a:pt x="194" y="137"/>
                    <a:pt x="189" y="170"/>
                    <a:pt x="183" y="194"/>
                  </a:cubicBezTo>
                  <a:cubicBezTo>
                    <a:pt x="178" y="217"/>
                    <a:pt x="163" y="234"/>
                    <a:pt x="142" y="247"/>
                  </a:cubicBezTo>
                  <a:cubicBezTo>
                    <a:pt x="138" y="249"/>
                    <a:pt x="138" y="249"/>
                    <a:pt x="138" y="249"/>
                  </a:cubicBezTo>
                  <a:cubicBezTo>
                    <a:pt x="115" y="263"/>
                    <a:pt x="86" y="263"/>
                    <a:pt x="63" y="250"/>
                  </a:cubicBezTo>
                  <a:cubicBezTo>
                    <a:pt x="63" y="250"/>
                    <a:pt x="63" y="250"/>
                    <a:pt x="63" y="250"/>
                  </a:cubicBezTo>
                  <a:cubicBezTo>
                    <a:pt x="40" y="236"/>
                    <a:pt x="24" y="219"/>
                    <a:pt x="19" y="194"/>
                  </a:cubicBezTo>
                  <a:cubicBezTo>
                    <a:pt x="10" y="148"/>
                    <a:pt x="9" y="98"/>
                    <a:pt x="9" y="98"/>
                  </a:cubicBezTo>
                  <a:cubicBezTo>
                    <a:pt x="9" y="98"/>
                    <a:pt x="0" y="0"/>
                    <a:pt x="100" y="2"/>
                  </a:cubicBezTo>
                  <a:cubicBezTo>
                    <a:pt x="200" y="4"/>
                    <a:pt x="194" y="98"/>
                    <a:pt x="194" y="98"/>
                  </a:cubicBez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 78">
              <a:extLst>
                <a:ext uri="{FF2B5EF4-FFF2-40B4-BE49-F238E27FC236}">
                  <a16:creationId xmlns:a16="http://schemas.microsoft.com/office/drawing/2014/main" id="{196150F9-3F74-4A69-9EE7-D38D92E08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0" y="1723"/>
              <a:ext cx="25" cy="27"/>
            </a:xfrm>
            <a:custGeom>
              <a:avLst/>
              <a:gdLst>
                <a:gd name="T0" fmla="*/ 0 w 14"/>
                <a:gd name="T1" fmla="*/ 0 h 15"/>
                <a:gd name="T2" fmla="*/ 0 w 14"/>
                <a:gd name="T3" fmla="*/ 8 h 15"/>
                <a:gd name="T4" fmla="*/ 0 w 14"/>
                <a:gd name="T5" fmla="*/ 11 h 15"/>
                <a:gd name="T6" fmla="*/ 7 w 14"/>
                <a:gd name="T7" fmla="*/ 14 h 15"/>
                <a:gd name="T8" fmla="*/ 14 w 14"/>
                <a:gd name="T9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1" y="13"/>
                    <a:pt x="4" y="15"/>
                    <a:pt x="7" y="14"/>
                  </a:cubicBezTo>
                  <a:cubicBezTo>
                    <a:pt x="14" y="12"/>
                    <a:pt x="14" y="12"/>
                    <a:pt x="14" y="12"/>
                  </a:cubicBezTo>
                </a:path>
              </a:pathLst>
            </a:custGeom>
            <a:noFill/>
            <a:ln w="14288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 79">
              <a:extLst>
                <a:ext uri="{FF2B5EF4-FFF2-40B4-BE49-F238E27FC236}">
                  <a16:creationId xmlns:a16="http://schemas.microsoft.com/office/drawing/2014/main" id="{2A790E6F-4C07-4359-9CDD-88F5AC417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8" y="1609"/>
              <a:ext cx="94" cy="43"/>
            </a:xfrm>
            <a:custGeom>
              <a:avLst/>
              <a:gdLst>
                <a:gd name="T0" fmla="*/ 0 w 53"/>
                <a:gd name="T1" fmla="*/ 11 h 24"/>
                <a:gd name="T2" fmla="*/ 53 w 53"/>
                <a:gd name="T3" fmla="*/ 24 h 24"/>
                <a:gd name="T4" fmla="*/ 29 w 53"/>
                <a:gd name="T5" fmla="*/ 5 h 24"/>
                <a:gd name="T6" fmla="*/ 0 w 53"/>
                <a:gd name="T7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4">
                  <a:moveTo>
                    <a:pt x="0" y="11"/>
                  </a:moveTo>
                  <a:cubicBezTo>
                    <a:pt x="53" y="24"/>
                    <a:pt x="53" y="24"/>
                    <a:pt x="53" y="24"/>
                  </a:cubicBezTo>
                  <a:cubicBezTo>
                    <a:pt x="53" y="24"/>
                    <a:pt x="50" y="10"/>
                    <a:pt x="29" y="5"/>
                  </a:cubicBezTo>
                  <a:cubicBezTo>
                    <a:pt x="7" y="0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80">
              <a:extLst>
                <a:ext uri="{FF2B5EF4-FFF2-40B4-BE49-F238E27FC236}">
                  <a16:creationId xmlns:a16="http://schemas.microsoft.com/office/drawing/2014/main" id="{558A71AE-A7D1-4226-88F3-507165EB9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1" y="1609"/>
              <a:ext cx="96" cy="43"/>
            </a:xfrm>
            <a:custGeom>
              <a:avLst/>
              <a:gdLst>
                <a:gd name="T0" fmla="*/ 54 w 54"/>
                <a:gd name="T1" fmla="*/ 11 h 24"/>
                <a:gd name="T2" fmla="*/ 0 w 54"/>
                <a:gd name="T3" fmla="*/ 24 h 24"/>
                <a:gd name="T4" fmla="*/ 24 w 54"/>
                <a:gd name="T5" fmla="*/ 5 h 24"/>
                <a:gd name="T6" fmla="*/ 54 w 54"/>
                <a:gd name="T7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24">
                  <a:moveTo>
                    <a:pt x="54" y="11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2" y="10"/>
                    <a:pt x="24" y="5"/>
                  </a:cubicBezTo>
                  <a:cubicBezTo>
                    <a:pt x="46" y="0"/>
                    <a:pt x="54" y="11"/>
                    <a:pt x="54" y="11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Oval 81">
              <a:extLst>
                <a:ext uri="{FF2B5EF4-FFF2-40B4-BE49-F238E27FC236}">
                  <a16:creationId xmlns:a16="http://schemas.microsoft.com/office/drawing/2014/main" id="{40D5089E-40F5-48FD-B058-47483D717C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3" y="1673"/>
              <a:ext cx="29" cy="29"/>
            </a:xfrm>
            <a:prstGeom prst="ellipse">
              <a:avLst/>
            </a:pr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Oval 82">
              <a:extLst>
                <a:ext uri="{FF2B5EF4-FFF2-40B4-BE49-F238E27FC236}">
                  <a16:creationId xmlns:a16="http://schemas.microsoft.com/office/drawing/2014/main" id="{2FD73502-B166-409F-8A83-72FB7903A9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4" y="1673"/>
              <a:ext cx="31" cy="29"/>
            </a:xfrm>
            <a:prstGeom prst="ellipse">
              <a:avLst/>
            </a:pr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83">
              <a:extLst>
                <a:ext uri="{FF2B5EF4-FFF2-40B4-BE49-F238E27FC236}">
                  <a16:creationId xmlns:a16="http://schemas.microsoft.com/office/drawing/2014/main" id="{6F793289-51AE-4861-A102-F1D8B8BAC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3" y="1774"/>
              <a:ext cx="130" cy="35"/>
            </a:xfrm>
            <a:custGeom>
              <a:avLst/>
              <a:gdLst>
                <a:gd name="T0" fmla="*/ 0 w 73"/>
                <a:gd name="T1" fmla="*/ 0 h 20"/>
                <a:gd name="T2" fmla="*/ 73 w 73"/>
                <a:gd name="T3" fmla="*/ 0 h 20"/>
                <a:gd name="T4" fmla="*/ 35 w 73"/>
                <a:gd name="T5" fmla="*/ 20 h 20"/>
                <a:gd name="T6" fmla="*/ 0 w 73"/>
                <a:gd name="T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0"/>
                    <a:pt x="68" y="20"/>
                    <a:pt x="35" y="20"/>
                  </a:cubicBezTo>
                  <a:cubicBezTo>
                    <a:pt x="9" y="2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84">
              <a:extLst>
                <a:ext uri="{FF2B5EF4-FFF2-40B4-BE49-F238E27FC236}">
                  <a16:creationId xmlns:a16="http://schemas.microsoft.com/office/drawing/2014/main" id="{8F2B6CDB-9C9B-45E3-86D4-21915FA0C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" y="1478"/>
              <a:ext cx="96" cy="195"/>
            </a:xfrm>
            <a:custGeom>
              <a:avLst/>
              <a:gdLst>
                <a:gd name="T0" fmla="*/ 14 w 54"/>
                <a:gd name="T1" fmla="*/ 109 h 109"/>
                <a:gd name="T2" fmla="*/ 45 w 54"/>
                <a:gd name="T3" fmla="*/ 0 h 109"/>
                <a:gd name="T4" fmla="*/ 8 w 54"/>
                <a:gd name="T5" fmla="*/ 53 h 109"/>
                <a:gd name="T6" fmla="*/ 14 w 54"/>
                <a:gd name="T7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109">
                  <a:moveTo>
                    <a:pt x="14" y="109"/>
                  </a:moveTo>
                  <a:cubicBezTo>
                    <a:pt x="14" y="109"/>
                    <a:pt x="54" y="54"/>
                    <a:pt x="45" y="0"/>
                  </a:cubicBezTo>
                  <a:cubicBezTo>
                    <a:pt x="45" y="0"/>
                    <a:pt x="15" y="15"/>
                    <a:pt x="8" y="53"/>
                  </a:cubicBezTo>
                  <a:cubicBezTo>
                    <a:pt x="0" y="92"/>
                    <a:pt x="14" y="109"/>
                    <a:pt x="14" y="109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85">
              <a:extLst>
                <a:ext uri="{FF2B5EF4-FFF2-40B4-BE49-F238E27FC236}">
                  <a16:creationId xmlns:a16="http://schemas.microsoft.com/office/drawing/2014/main" id="{4C0A5FD2-463A-4E78-A696-1651430D0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5" y="1471"/>
              <a:ext cx="102" cy="199"/>
            </a:xfrm>
            <a:custGeom>
              <a:avLst/>
              <a:gdLst>
                <a:gd name="T0" fmla="*/ 46 w 57"/>
                <a:gd name="T1" fmla="*/ 111 h 111"/>
                <a:gd name="T2" fmla="*/ 9 w 57"/>
                <a:gd name="T3" fmla="*/ 0 h 111"/>
                <a:gd name="T4" fmla="*/ 49 w 57"/>
                <a:gd name="T5" fmla="*/ 57 h 111"/>
                <a:gd name="T6" fmla="*/ 46 w 57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111">
                  <a:moveTo>
                    <a:pt x="46" y="111"/>
                  </a:moveTo>
                  <a:cubicBezTo>
                    <a:pt x="46" y="111"/>
                    <a:pt x="0" y="55"/>
                    <a:pt x="9" y="0"/>
                  </a:cubicBezTo>
                  <a:cubicBezTo>
                    <a:pt x="9" y="0"/>
                    <a:pt x="41" y="19"/>
                    <a:pt x="49" y="57"/>
                  </a:cubicBezTo>
                  <a:cubicBezTo>
                    <a:pt x="57" y="96"/>
                    <a:pt x="46" y="111"/>
                    <a:pt x="46" y="111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 86">
              <a:extLst>
                <a:ext uri="{FF2B5EF4-FFF2-40B4-BE49-F238E27FC236}">
                  <a16:creationId xmlns:a16="http://schemas.microsoft.com/office/drawing/2014/main" id="{87597556-1F7D-4CE2-99D8-8AEB8ACE6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" y="1419"/>
              <a:ext cx="333" cy="208"/>
            </a:xfrm>
            <a:custGeom>
              <a:avLst/>
              <a:gdLst>
                <a:gd name="T0" fmla="*/ 0 w 186"/>
                <a:gd name="T1" fmla="*/ 54 h 116"/>
                <a:gd name="T2" fmla="*/ 186 w 186"/>
                <a:gd name="T3" fmla="*/ 106 h 116"/>
                <a:gd name="T4" fmla="*/ 102 w 186"/>
                <a:gd name="T5" fmla="*/ 10 h 116"/>
                <a:gd name="T6" fmla="*/ 0 w 186"/>
                <a:gd name="T7" fmla="*/ 5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6" h="116">
                  <a:moveTo>
                    <a:pt x="0" y="54"/>
                  </a:moveTo>
                  <a:cubicBezTo>
                    <a:pt x="0" y="54"/>
                    <a:pt x="46" y="116"/>
                    <a:pt x="186" y="106"/>
                  </a:cubicBezTo>
                  <a:cubicBezTo>
                    <a:pt x="186" y="106"/>
                    <a:pt x="170" y="18"/>
                    <a:pt x="102" y="10"/>
                  </a:cubicBezTo>
                  <a:cubicBezTo>
                    <a:pt x="102" y="10"/>
                    <a:pt x="23" y="0"/>
                    <a:pt x="0" y="54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87">
              <a:extLst>
                <a:ext uri="{FF2B5EF4-FFF2-40B4-BE49-F238E27FC236}">
                  <a16:creationId xmlns:a16="http://schemas.microsoft.com/office/drawing/2014/main" id="{AE05F433-00DE-4FA0-98C8-8BD8AC20A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" y="2306"/>
              <a:ext cx="279" cy="931"/>
            </a:xfrm>
            <a:custGeom>
              <a:avLst/>
              <a:gdLst>
                <a:gd name="T0" fmla="*/ 39 w 156"/>
                <a:gd name="T1" fmla="*/ 517 h 520"/>
                <a:gd name="T2" fmla="*/ 120 w 156"/>
                <a:gd name="T3" fmla="*/ 8 h 520"/>
                <a:gd name="T4" fmla="*/ 46 w 156"/>
                <a:gd name="T5" fmla="*/ 33 h 520"/>
                <a:gd name="T6" fmla="*/ 0 w 156"/>
                <a:gd name="T7" fmla="*/ 513 h 520"/>
                <a:gd name="T8" fmla="*/ 39 w 156"/>
                <a:gd name="T9" fmla="*/ 517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520">
                  <a:moveTo>
                    <a:pt x="39" y="517"/>
                  </a:moveTo>
                  <a:cubicBezTo>
                    <a:pt x="37" y="520"/>
                    <a:pt x="156" y="0"/>
                    <a:pt x="120" y="8"/>
                  </a:cubicBezTo>
                  <a:cubicBezTo>
                    <a:pt x="117" y="9"/>
                    <a:pt x="55" y="14"/>
                    <a:pt x="46" y="33"/>
                  </a:cubicBezTo>
                  <a:cubicBezTo>
                    <a:pt x="19" y="87"/>
                    <a:pt x="0" y="513"/>
                    <a:pt x="0" y="513"/>
                  </a:cubicBezTo>
                  <a:lnTo>
                    <a:pt x="39" y="517"/>
                  </a:ln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 88">
              <a:extLst>
                <a:ext uri="{FF2B5EF4-FFF2-40B4-BE49-F238E27FC236}">
                  <a16:creationId xmlns:a16="http://schemas.microsoft.com/office/drawing/2014/main" id="{7C278B82-1B1A-4139-85F6-DC7843C24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3205"/>
              <a:ext cx="161" cy="199"/>
            </a:xfrm>
            <a:custGeom>
              <a:avLst/>
              <a:gdLst>
                <a:gd name="T0" fmla="*/ 19 w 90"/>
                <a:gd name="T1" fmla="*/ 11 h 111"/>
                <a:gd name="T2" fmla="*/ 73 w 90"/>
                <a:gd name="T3" fmla="*/ 110 h 111"/>
                <a:gd name="T4" fmla="*/ 84 w 90"/>
                <a:gd name="T5" fmla="*/ 103 h 111"/>
                <a:gd name="T6" fmla="*/ 84 w 90"/>
                <a:gd name="T7" fmla="*/ 103 h 111"/>
                <a:gd name="T8" fmla="*/ 78 w 90"/>
                <a:gd name="T9" fmla="*/ 90 h 111"/>
                <a:gd name="T10" fmla="*/ 57 w 90"/>
                <a:gd name="T11" fmla="*/ 41 h 111"/>
                <a:gd name="T12" fmla="*/ 73 w 90"/>
                <a:gd name="T13" fmla="*/ 59 h 111"/>
                <a:gd name="T14" fmla="*/ 85 w 90"/>
                <a:gd name="T15" fmla="*/ 65 h 111"/>
                <a:gd name="T16" fmla="*/ 85 w 90"/>
                <a:gd name="T17" fmla="*/ 65 h 111"/>
                <a:gd name="T18" fmla="*/ 90 w 90"/>
                <a:gd name="T19" fmla="*/ 56 h 111"/>
                <a:gd name="T20" fmla="*/ 55 w 90"/>
                <a:gd name="T21" fmla="*/ 0 h 111"/>
                <a:gd name="T22" fmla="*/ 19 w 90"/>
                <a:gd name="T23" fmla="*/ 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111">
                  <a:moveTo>
                    <a:pt x="19" y="11"/>
                  </a:moveTo>
                  <a:cubicBezTo>
                    <a:pt x="19" y="11"/>
                    <a:pt x="0" y="100"/>
                    <a:pt x="73" y="110"/>
                  </a:cubicBezTo>
                  <a:cubicBezTo>
                    <a:pt x="77" y="111"/>
                    <a:pt x="82" y="108"/>
                    <a:pt x="84" y="103"/>
                  </a:cubicBezTo>
                  <a:cubicBezTo>
                    <a:pt x="84" y="103"/>
                    <a:pt x="84" y="103"/>
                    <a:pt x="84" y="103"/>
                  </a:cubicBezTo>
                  <a:cubicBezTo>
                    <a:pt x="86" y="98"/>
                    <a:pt x="83" y="92"/>
                    <a:pt x="78" y="90"/>
                  </a:cubicBezTo>
                  <a:cubicBezTo>
                    <a:pt x="66" y="85"/>
                    <a:pt x="48" y="71"/>
                    <a:pt x="57" y="41"/>
                  </a:cubicBezTo>
                  <a:cubicBezTo>
                    <a:pt x="57" y="41"/>
                    <a:pt x="68" y="40"/>
                    <a:pt x="73" y="59"/>
                  </a:cubicBezTo>
                  <a:cubicBezTo>
                    <a:pt x="75" y="64"/>
                    <a:pt x="80" y="67"/>
                    <a:pt x="85" y="65"/>
                  </a:cubicBezTo>
                  <a:cubicBezTo>
                    <a:pt x="85" y="65"/>
                    <a:pt x="85" y="65"/>
                    <a:pt x="85" y="65"/>
                  </a:cubicBezTo>
                  <a:cubicBezTo>
                    <a:pt x="88" y="63"/>
                    <a:pt x="90" y="59"/>
                    <a:pt x="90" y="56"/>
                  </a:cubicBezTo>
                  <a:cubicBezTo>
                    <a:pt x="88" y="42"/>
                    <a:pt x="81" y="9"/>
                    <a:pt x="55" y="0"/>
                  </a:cubicBezTo>
                  <a:lnTo>
                    <a:pt x="19" y="11"/>
                  </a:ln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 89">
              <a:extLst>
                <a:ext uri="{FF2B5EF4-FFF2-40B4-BE49-F238E27FC236}">
                  <a16:creationId xmlns:a16="http://schemas.microsoft.com/office/drawing/2014/main" id="{439049E7-1BC1-4C1D-9331-F050C07D58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" y="2451"/>
              <a:ext cx="166" cy="311"/>
            </a:xfrm>
            <a:custGeom>
              <a:avLst/>
              <a:gdLst>
                <a:gd name="T0" fmla="*/ 0 w 93"/>
                <a:gd name="T1" fmla="*/ 77 h 174"/>
                <a:gd name="T2" fmla="*/ 69 w 93"/>
                <a:gd name="T3" fmla="*/ 172 h 174"/>
                <a:gd name="T4" fmla="*/ 93 w 93"/>
                <a:gd name="T5" fmla="*/ 36 h 174"/>
                <a:gd name="T6" fmla="*/ 9 w 93"/>
                <a:gd name="T7" fmla="*/ 0 h 174"/>
                <a:gd name="T8" fmla="*/ 0 w 93"/>
                <a:gd name="T9" fmla="*/ 77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174">
                  <a:moveTo>
                    <a:pt x="0" y="77"/>
                  </a:moveTo>
                  <a:cubicBezTo>
                    <a:pt x="0" y="77"/>
                    <a:pt x="68" y="174"/>
                    <a:pt x="69" y="172"/>
                  </a:cubicBezTo>
                  <a:cubicBezTo>
                    <a:pt x="69" y="170"/>
                    <a:pt x="93" y="36"/>
                    <a:pt x="93" y="36"/>
                  </a:cubicBezTo>
                  <a:cubicBezTo>
                    <a:pt x="9" y="0"/>
                    <a:pt x="9" y="0"/>
                    <a:pt x="9" y="0"/>
                  </a:cubicBezTo>
                  <a:lnTo>
                    <a:pt x="0" y="77"/>
                  </a:lnTo>
                  <a:close/>
                </a:path>
              </a:pathLst>
            </a:custGeom>
            <a:solidFill>
              <a:srgbClr val="F39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 90">
              <a:extLst>
                <a:ext uri="{FF2B5EF4-FFF2-40B4-BE49-F238E27FC236}">
                  <a16:creationId xmlns:a16="http://schemas.microsoft.com/office/drawing/2014/main" id="{EC1BA664-F6EB-453A-B73B-FF2F83E09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1" y="2028"/>
              <a:ext cx="806" cy="718"/>
            </a:xfrm>
            <a:custGeom>
              <a:avLst/>
              <a:gdLst>
                <a:gd name="T0" fmla="*/ 201 w 450"/>
                <a:gd name="T1" fmla="*/ 1 h 401"/>
                <a:gd name="T2" fmla="*/ 0 w 450"/>
                <a:gd name="T3" fmla="*/ 222 h 401"/>
                <a:gd name="T4" fmla="*/ 99 w 450"/>
                <a:gd name="T5" fmla="*/ 237 h 401"/>
                <a:gd name="T6" fmla="*/ 119 w 450"/>
                <a:gd name="T7" fmla="*/ 401 h 401"/>
                <a:gd name="T8" fmla="*/ 395 w 450"/>
                <a:gd name="T9" fmla="*/ 401 h 401"/>
                <a:gd name="T10" fmla="*/ 450 w 450"/>
                <a:gd name="T11" fmla="*/ 98 h 401"/>
                <a:gd name="T12" fmla="*/ 298 w 450"/>
                <a:gd name="T13" fmla="*/ 0 h 401"/>
                <a:gd name="T14" fmla="*/ 201 w 450"/>
                <a:gd name="T15" fmla="*/ 1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0" h="401">
                  <a:moveTo>
                    <a:pt x="201" y="1"/>
                  </a:moveTo>
                  <a:cubicBezTo>
                    <a:pt x="204" y="1"/>
                    <a:pt x="32" y="4"/>
                    <a:pt x="0" y="222"/>
                  </a:cubicBezTo>
                  <a:cubicBezTo>
                    <a:pt x="99" y="237"/>
                    <a:pt x="99" y="237"/>
                    <a:pt x="99" y="237"/>
                  </a:cubicBezTo>
                  <a:cubicBezTo>
                    <a:pt x="119" y="401"/>
                    <a:pt x="119" y="401"/>
                    <a:pt x="119" y="401"/>
                  </a:cubicBezTo>
                  <a:cubicBezTo>
                    <a:pt x="395" y="401"/>
                    <a:pt x="395" y="401"/>
                    <a:pt x="395" y="401"/>
                  </a:cubicBezTo>
                  <a:cubicBezTo>
                    <a:pt x="450" y="98"/>
                    <a:pt x="450" y="98"/>
                    <a:pt x="450" y="98"/>
                  </a:cubicBezTo>
                  <a:cubicBezTo>
                    <a:pt x="450" y="98"/>
                    <a:pt x="411" y="32"/>
                    <a:pt x="298" y="0"/>
                  </a:cubicBezTo>
                  <a:lnTo>
                    <a:pt x="201" y="1"/>
                  </a:lnTo>
                  <a:close/>
                </a:path>
              </a:pathLst>
            </a:custGeom>
            <a:solidFill>
              <a:srgbClr val="0085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 91">
              <a:extLst>
                <a:ext uri="{FF2B5EF4-FFF2-40B4-BE49-F238E27FC236}">
                  <a16:creationId xmlns:a16="http://schemas.microsoft.com/office/drawing/2014/main" id="{56224581-6E0E-4ADF-82B7-D340AB388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" y="1997"/>
              <a:ext cx="445" cy="138"/>
            </a:xfrm>
            <a:custGeom>
              <a:avLst/>
              <a:gdLst>
                <a:gd name="T0" fmla="*/ 0 w 248"/>
                <a:gd name="T1" fmla="*/ 45 h 77"/>
                <a:gd name="T2" fmla="*/ 124 w 248"/>
                <a:gd name="T3" fmla="*/ 77 h 77"/>
                <a:gd name="T4" fmla="*/ 248 w 248"/>
                <a:gd name="T5" fmla="*/ 43 h 77"/>
                <a:gd name="T6" fmla="*/ 122 w 248"/>
                <a:gd name="T7" fmla="*/ 0 h 77"/>
                <a:gd name="T8" fmla="*/ 0 w 248"/>
                <a:gd name="T9" fmla="*/ 4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77">
                  <a:moveTo>
                    <a:pt x="0" y="45"/>
                  </a:moveTo>
                  <a:cubicBezTo>
                    <a:pt x="0" y="45"/>
                    <a:pt x="24" y="77"/>
                    <a:pt x="124" y="77"/>
                  </a:cubicBezTo>
                  <a:cubicBezTo>
                    <a:pt x="223" y="77"/>
                    <a:pt x="248" y="43"/>
                    <a:pt x="248" y="43"/>
                  </a:cubicBezTo>
                  <a:cubicBezTo>
                    <a:pt x="248" y="43"/>
                    <a:pt x="190" y="10"/>
                    <a:pt x="122" y="0"/>
                  </a:cubicBezTo>
                  <a:cubicBezTo>
                    <a:pt x="122" y="0"/>
                    <a:pt x="62" y="11"/>
                    <a:pt x="0" y="45"/>
                  </a:cubicBez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92">
              <a:extLst>
                <a:ext uri="{FF2B5EF4-FFF2-40B4-BE49-F238E27FC236}">
                  <a16:creationId xmlns:a16="http://schemas.microsoft.com/office/drawing/2014/main" id="{676E62F3-9E96-4ACA-883B-D71B97F90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8" y="3310"/>
              <a:ext cx="413" cy="778"/>
            </a:xfrm>
            <a:custGeom>
              <a:avLst/>
              <a:gdLst>
                <a:gd name="T0" fmla="*/ 0 w 413"/>
                <a:gd name="T1" fmla="*/ 0 h 778"/>
                <a:gd name="T2" fmla="*/ 0 w 413"/>
                <a:gd name="T3" fmla="*/ 778 h 778"/>
                <a:gd name="T4" fmla="*/ 383 w 413"/>
                <a:gd name="T5" fmla="*/ 778 h 778"/>
                <a:gd name="T6" fmla="*/ 413 w 413"/>
                <a:gd name="T7" fmla="*/ 0 h 778"/>
                <a:gd name="T8" fmla="*/ 0 w 413"/>
                <a:gd name="T9" fmla="*/ 0 h 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3" h="778">
                  <a:moveTo>
                    <a:pt x="0" y="0"/>
                  </a:moveTo>
                  <a:lnTo>
                    <a:pt x="0" y="778"/>
                  </a:lnTo>
                  <a:lnTo>
                    <a:pt x="383" y="778"/>
                  </a:lnTo>
                  <a:lnTo>
                    <a:pt x="41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56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 93">
              <a:extLst>
                <a:ext uri="{FF2B5EF4-FFF2-40B4-BE49-F238E27FC236}">
                  <a16:creationId xmlns:a16="http://schemas.microsoft.com/office/drawing/2014/main" id="{BB2ABEC0-5417-4AF5-9760-423B42731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7" y="3310"/>
              <a:ext cx="413" cy="778"/>
            </a:xfrm>
            <a:custGeom>
              <a:avLst/>
              <a:gdLst>
                <a:gd name="T0" fmla="*/ 413 w 413"/>
                <a:gd name="T1" fmla="*/ 0 h 778"/>
                <a:gd name="T2" fmla="*/ 413 w 413"/>
                <a:gd name="T3" fmla="*/ 778 h 778"/>
                <a:gd name="T4" fmla="*/ 30 w 413"/>
                <a:gd name="T5" fmla="*/ 778 h 778"/>
                <a:gd name="T6" fmla="*/ 0 w 413"/>
                <a:gd name="T7" fmla="*/ 0 h 778"/>
                <a:gd name="T8" fmla="*/ 413 w 413"/>
                <a:gd name="T9" fmla="*/ 0 h 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3" h="778">
                  <a:moveTo>
                    <a:pt x="413" y="0"/>
                  </a:moveTo>
                  <a:lnTo>
                    <a:pt x="413" y="778"/>
                  </a:lnTo>
                  <a:lnTo>
                    <a:pt x="30" y="778"/>
                  </a:lnTo>
                  <a:lnTo>
                    <a:pt x="0" y="0"/>
                  </a:lnTo>
                  <a:lnTo>
                    <a:pt x="413" y="0"/>
                  </a:lnTo>
                  <a:close/>
                </a:path>
              </a:pathLst>
            </a:custGeom>
            <a:solidFill>
              <a:srgbClr val="0056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Rectangle 94">
              <a:extLst>
                <a:ext uri="{FF2B5EF4-FFF2-40B4-BE49-F238E27FC236}">
                  <a16:creationId xmlns:a16="http://schemas.microsoft.com/office/drawing/2014/main" id="{5D9B6467-5EC5-4EB5-B2CD-E7B3AC8856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3" y="3310"/>
              <a:ext cx="398" cy="271"/>
            </a:xfrm>
            <a:prstGeom prst="rect">
              <a:avLst/>
            </a:prstGeom>
            <a:solidFill>
              <a:srgbClr val="0056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Line 95">
              <a:extLst>
                <a:ext uri="{FF2B5EF4-FFF2-40B4-BE49-F238E27FC236}">
                  <a16:creationId xmlns:a16="http://schemas.microsoft.com/office/drawing/2014/main" id="{B5DFC6AD-021B-4C8E-B1F5-9C9C360114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9" y="3581"/>
              <a:ext cx="274" cy="0"/>
            </a:xfrm>
            <a:prstGeom prst="line">
              <a:avLst/>
            </a:prstGeom>
            <a:noFill/>
            <a:ln w="17463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 96">
              <a:extLst>
                <a:ext uri="{FF2B5EF4-FFF2-40B4-BE49-F238E27FC236}">
                  <a16:creationId xmlns:a16="http://schemas.microsoft.com/office/drawing/2014/main" id="{4B6BD4D1-8180-43EB-8387-3CD99F1A1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6" y="2633"/>
              <a:ext cx="281" cy="950"/>
            </a:xfrm>
            <a:custGeom>
              <a:avLst/>
              <a:gdLst>
                <a:gd name="T0" fmla="*/ 144 w 157"/>
                <a:gd name="T1" fmla="*/ 0 h 530"/>
                <a:gd name="T2" fmla="*/ 147 w 157"/>
                <a:gd name="T3" fmla="*/ 524 h 530"/>
                <a:gd name="T4" fmla="*/ 19 w 157"/>
                <a:gd name="T5" fmla="*/ 530 h 530"/>
                <a:gd name="T6" fmla="*/ 0 w 157"/>
                <a:gd name="T7" fmla="*/ 24 h 530"/>
                <a:gd name="T8" fmla="*/ 144 w 157"/>
                <a:gd name="T9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530">
                  <a:moveTo>
                    <a:pt x="144" y="0"/>
                  </a:moveTo>
                  <a:cubicBezTo>
                    <a:pt x="157" y="147"/>
                    <a:pt x="143" y="254"/>
                    <a:pt x="147" y="524"/>
                  </a:cubicBezTo>
                  <a:cubicBezTo>
                    <a:pt x="19" y="530"/>
                    <a:pt x="19" y="530"/>
                    <a:pt x="19" y="530"/>
                  </a:cubicBezTo>
                  <a:cubicBezTo>
                    <a:pt x="0" y="24"/>
                    <a:pt x="0" y="24"/>
                    <a:pt x="0" y="24"/>
                  </a:cubicBezTo>
                  <a:lnTo>
                    <a:pt x="144" y="0"/>
                  </a:ln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97">
              <a:extLst>
                <a:ext uri="{FF2B5EF4-FFF2-40B4-BE49-F238E27FC236}">
                  <a16:creationId xmlns:a16="http://schemas.microsoft.com/office/drawing/2014/main" id="{FAEEC852-8733-4B4E-9E2D-9363D433A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5" y="2705"/>
              <a:ext cx="238" cy="134"/>
            </a:xfrm>
            <a:custGeom>
              <a:avLst/>
              <a:gdLst>
                <a:gd name="T0" fmla="*/ 0 w 133"/>
                <a:gd name="T1" fmla="*/ 75 h 75"/>
                <a:gd name="T2" fmla="*/ 133 w 133"/>
                <a:gd name="T3" fmla="*/ 32 h 75"/>
                <a:gd name="T4" fmla="*/ 132 w 133"/>
                <a:gd name="T5" fmla="*/ 0 h 75"/>
                <a:gd name="T6" fmla="*/ 0 w 133"/>
                <a:gd name="T7" fmla="*/ 18 h 75"/>
                <a:gd name="T8" fmla="*/ 0 w 133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75">
                  <a:moveTo>
                    <a:pt x="0" y="75"/>
                  </a:moveTo>
                  <a:cubicBezTo>
                    <a:pt x="0" y="75"/>
                    <a:pt x="79" y="67"/>
                    <a:pt x="133" y="32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75"/>
                  </a:lnTo>
                  <a:close/>
                </a:path>
              </a:pathLst>
            </a:custGeom>
            <a:solidFill>
              <a:srgbClr val="F39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 98">
              <a:extLst>
                <a:ext uri="{FF2B5EF4-FFF2-40B4-BE49-F238E27FC236}">
                  <a16:creationId xmlns:a16="http://schemas.microsoft.com/office/drawing/2014/main" id="{A4338B7D-83E1-4D4E-82EB-9C5505F762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7" y="2028"/>
              <a:ext cx="532" cy="781"/>
            </a:xfrm>
            <a:custGeom>
              <a:avLst/>
              <a:gdLst>
                <a:gd name="T0" fmla="*/ 0 w 297"/>
                <a:gd name="T1" fmla="*/ 0 h 436"/>
                <a:gd name="T2" fmla="*/ 297 w 297"/>
                <a:gd name="T3" fmla="*/ 383 h 436"/>
                <a:gd name="T4" fmla="*/ 50 w 297"/>
                <a:gd name="T5" fmla="*/ 413 h 436"/>
                <a:gd name="T6" fmla="*/ 78 w 297"/>
                <a:gd name="T7" fmla="*/ 306 h 436"/>
                <a:gd name="T8" fmla="*/ 0 w 297"/>
                <a:gd name="T9" fmla="*/ 0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7" h="436">
                  <a:moveTo>
                    <a:pt x="0" y="0"/>
                  </a:moveTo>
                  <a:cubicBezTo>
                    <a:pt x="0" y="0"/>
                    <a:pt x="251" y="63"/>
                    <a:pt x="297" y="383"/>
                  </a:cubicBezTo>
                  <a:cubicBezTo>
                    <a:pt x="297" y="383"/>
                    <a:pt x="174" y="436"/>
                    <a:pt x="50" y="413"/>
                  </a:cubicBezTo>
                  <a:cubicBezTo>
                    <a:pt x="78" y="306"/>
                    <a:pt x="78" y="306"/>
                    <a:pt x="78" y="30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98B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 99">
              <a:extLst>
                <a:ext uri="{FF2B5EF4-FFF2-40B4-BE49-F238E27FC236}">
                  <a16:creationId xmlns:a16="http://schemas.microsoft.com/office/drawing/2014/main" id="{05A8C461-0422-43A5-AAD6-B1783B615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3" y="2266"/>
              <a:ext cx="472" cy="686"/>
            </a:xfrm>
            <a:custGeom>
              <a:avLst/>
              <a:gdLst>
                <a:gd name="T0" fmla="*/ 76 w 264"/>
                <a:gd name="T1" fmla="*/ 0 h 383"/>
                <a:gd name="T2" fmla="*/ 264 w 264"/>
                <a:gd name="T3" fmla="*/ 221 h 383"/>
                <a:gd name="T4" fmla="*/ 206 w 264"/>
                <a:gd name="T5" fmla="*/ 383 h 383"/>
                <a:gd name="T6" fmla="*/ 0 w 264"/>
                <a:gd name="T7" fmla="*/ 31 h 383"/>
                <a:gd name="T8" fmla="*/ 76 w 264"/>
                <a:gd name="T9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4" h="383">
                  <a:moveTo>
                    <a:pt x="76" y="0"/>
                  </a:moveTo>
                  <a:cubicBezTo>
                    <a:pt x="264" y="221"/>
                    <a:pt x="264" y="221"/>
                    <a:pt x="264" y="221"/>
                  </a:cubicBezTo>
                  <a:cubicBezTo>
                    <a:pt x="206" y="383"/>
                    <a:pt x="206" y="383"/>
                    <a:pt x="206" y="383"/>
                  </a:cubicBezTo>
                  <a:cubicBezTo>
                    <a:pt x="206" y="383"/>
                    <a:pt x="64" y="185"/>
                    <a:pt x="0" y="31"/>
                  </a:cubicBezTo>
                  <a:lnTo>
                    <a:pt x="76" y="0"/>
                  </a:ln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 100">
              <a:extLst>
                <a:ext uri="{FF2B5EF4-FFF2-40B4-BE49-F238E27FC236}">
                  <a16:creationId xmlns:a16="http://schemas.microsoft.com/office/drawing/2014/main" id="{8BE04904-9467-4C2A-A42D-94398DD24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" y="2042"/>
              <a:ext cx="243" cy="305"/>
            </a:xfrm>
            <a:custGeom>
              <a:avLst/>
              <a:gdLst>
                <a:gd name="T0" fmla="*/ 136 w 136"/>
                <a:gd name="T1" fmla="*/ 133 h 170"/>
                <a:gd name="T2" fmla="*/ 54 w 136"/>
                <a:gd name="T3" fmla="*/ 156 h 170"/>
                <a:gd name="T4" fmla="*/ 0 w 136"/>
                <a:gd name="T5" fmla="*/ 47 h 170"/>
                <a:gd name="T6" fmla="*/ 122 w 136"/>
                <a:gd name="T7" fmla="*/ 2 h 170"/>
                <a:gd name="T8" fmla="*/ 136 w 136"/>
                <a:gd name="T9" fmla="*/ 13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170">
                  <a:moveTo>
                    <a:pt x="136" y="133"/>
                  </a:moveTo>
                  <a:cubicBezTo>
                    <a:pt x="136" y="133"/>
                    <a:pt x="71" y="170"/>
                    <a:pt x="54" y="156"/>
                  </a:cubicBezTo>
                  <a:cubicBezTo>
                    <a:pt x="25" y="133"/>
                    <a:pt x="0" y="47"/>
                    <a:pt x="0" y="47"/>
                  </a:cubicBezTo>
                  <a:cubicBezTo>
                    <a:pt x="0" y="47"/>
                    <a:pt x="124" y="0"/>
                    <a:pt x="122" y="2"/>
                  </a:cubicBezTo>
                  <a:cubicBezTo>
                    <a:pt x="121" y="4"/>
                    <a:pt x="136" y="133"/>
                    <a:pt x="136" y="133"/>
                  </a:cubicBez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reeform 101">
              <a:extLst>
                <a:ext uri="{FF2B5EF4-FFF2-40B4-BE49-F238E27FC236}">
                  <a16:creationId xmlns:a16="http://schemas.microsoft.com/office/drawing/2014/main" id="{20F0D52A-34EC-4ADB-A4FF-86E14F317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064"/>
              <a:ext cx="104" cy="216"/>
            </a:xfrm>
            <a:custGeom>
              <a:avLst/>
              <a:gdLst>
                <a:gd name="T0" fmla="*/ 22 w 58"/>
                <a:gd name="T1" fmla="*/ 121 h 121"/>
                <a:gd name="T2" fmla="*/ 56 w 58"/>
                <a:gd name="T3" fmla="*/ 16 h 121"/>
                <a:gd name="T4" fmla="*/ 46 w 58"/>
                <a:gd name="T5" fmla="*/ 1 h 121"/>
                <a:gd name="T6" fmla="*/ 46 w 58"/>
                <a:gd name="T7" fmla="*/ 1 h 121"/>
                <a:gd name="T8" fmla="*/ 31 w 58"/>
                <a:gd name="T9" fmla="*/ 7 h 121"/>
                <a:gd name="T10" fmla="*/ 0 w 58"/>
                <a:gd name="T11" fmla="*/ 60 h 121"/>
                <a:gd name="T12" fmla="*/ 22 w 58"/>
                <a:gd name="T13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121">
                  <a:moveTo>
                    <a:pt x="22" y="121"/>
                  </a:moveTo>
                  <a:cubicBezTo>
                    <a:pt x="21" y="114"/>
                    <a:pt x="47" y="43"/>
                    <a:pt x="56" y="16"/>
                  </a:cubicBezTo>
                  <a:cubicBezTo>
                    <a:pt x="58" y="9"/>
                    <a:pt x="53" y="2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2" y="0"/>
                    <a:pt x="35" y="0"/>
                    <a:pt x="31" y="7"/>
                  </a:cubicBezTo>
                  <a:cubicBezTo>
                    <a:pt x="0" y="60"/>
                    <a:pt x="0" y="60"/>
                    <a:pt x="0" y="60"/>
                  </a:cubicBezTo>
                  <a:lnTo>
                    <a:pt x="22" y="121"/>
                  </a:ln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102">
              <a:extLst>
                <a:ext uri="{FF2B5EF4-FFF2-40B4-BE49-F238E27FC236}">
                  <a16:creationId xmlns:a16="http://schemas.microsoft.com/office/drawing/2014/main" id="{EED6E889-6466-49A3-9FB5-E0D6A6FDA2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3" y="1931"/>
              <a:ext cx="83" cy="210"/>
            </a:xfrm>
            <a:custGeom>
              <a:avLst/>
              <a:gdLst>
                <a:gd name="T0" fmla="*/ 46 w 46"/>
                <a:gd name="T1" fmla="*/ 117 h 117"/>
                <a:gd name="T2" fmla="*/ 25 w 46"/>
                <a:gd name="T3" fmla="*/ 12 h 117"/>
                <a:gd name="T4" fmla="*/ 10 w 46"/>
                <a:gd name="T5" fmla="*/ 1 h 117"/>
                <a:gd name="T6" fmla="*/ 10 w 46"/>
                <a:gd name="T7" fmla="*/ 1 h 117"/>
                <a:gd name="T8" fmla="*/ 0 w 46"/>
                <a:gd name="T9" fmla="*/ 14 h 117"/>
                <a:gd name="T10" fmla="*/ 10 w 46"/>
                <a:gd name="T11" fmla="*/ 93 h 117"/>
                <a:gd name="T12" fmla="*/ 46 w 46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117">
                  <a:moveTo>
                    <a:pt x="46" y="117"/>
                  </a:moveTo>
                  <a:cubicBezTo>
                    <a:pt x="25" y="12"/>
                    <a:pt x="25" y="12"/>
                    <a:pt x="25" y="12"/>
                  </a:cubicBezTo>
                  <a:cubicBezTo>
                    <a:pt x="24" y="5"/>
                    <a:pt x="17" y="0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4" y="2"/>
                    <a:pt x="0" y="8"/>
                    <a:pt x="0" y="14"/>
                  </a:cubicBezTo>
                  <a:cubicBezTo>
                    <a:pt x="10" y="93"/>
                    <a:pt x="10" y="93"/>
                    <a:pt x="10" y="93"/>
                  </a:cubicBezTo>
                  <a:lnTo>
                    <a:pt x="46" y="117"/>
                  </a:ln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 103">
              <a:extLst>
                <a:ext uri="{FF2B5EF4-FFF2-40B4-BE49-F238E27FC236}">
                  <a16:creationId xmlns:a16="http://schemas.microsoft.com/office/drawing/2014/main" id="{957B017C-197F-42D4-ABD9-BF30F87B2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4" y="1919"/>
              <a:ext cx="97" cy="184"/>
            </a:xfrm>
            <a:custGeom>
              <a:avLst/>
              <a:gdLst>
                <a:gd name="T0" fmla="*/ 54 w 54"/>
                <a:gd name="T1" fmla="*/ 85 h 103"/>
                <a:gd name="T2" fmla="*/ 25 w 54"/>
                <a:gd name="T3" fmla="*/ 10 h 103"/>
                <a:gd name="T4" fmla="*/ 9 w 54"/>
                <a:gd name="T5" fmla="*/ 2 h 103"/>
                <a:gd name="T6" fmla="*/ 9 w 54"/>
                <a:gd name="T7" fmla="*/ 2 h 103"/>
                <a:gd name="T8" fmla="*/ 1 w 54"/>
                <a:gd name="T9" fmla="*/ 16 h 103"/>
                <a:gd name="T10" fmla="*/ 23 w 54"/>
                <a:gd name="T11" fmla="*/ 103 h 103"/>
                <a:gd name="T12" fmla="*/ 54 w 54"/>
                <a:gd name="T13" fmla="*/ 8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03">
                  <a:moveTo>
                    <a:pt x="54" y="85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4"/>
                    <a:pt x="15" y="0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3" y="4"/>
                    <a:pt x="0" y="10"/>
                    <a:pt x="1" y="16"/>
                  </a:cubicBezTo>
                  <a:cubicBezTo>
                    <a:pt x="23" y="103"/>
                    <a:pt x="23" y="103"/>
                    <a:pt x="23" y="103"/>
                  </a:cubicBezTo>
                  <a:lnTo>
                    <a:pt x="54" y="85"/>
                  </a:ln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 104">
              <a:extLst>
                <a:ext uri="{FF2B5EF4-FFF2-40B4-BE49-F238E27FC236}">
                  <a16:creationId xmlns:a16="http://schemas.microsoft.com/office/drawing/2014/main" id="{9F875A8A-8814-4BE4-A58E-3CDF827D6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0" y="1962"/>
              <a:ext cx="115" cy="159"/>
            </a:xfrm>
            <a:custGeom>
              <a:avLst/>
              <a:gdLst>
                <a:gd name="T0" fmla="*/ 64 w 64"/>
                <a:gd name="T1" fmla="*/ 84 h 89"/>
                <a:gd name="T2" fmla="*/ 28 w 64"/>
                <a:gd name="T3" fmla="*/ 10 h 89"/>
                <a:gd name="T4" fmla="*/ 9 w 64"/>
                <a:gd name="T5" fmla="*/ 3 h 89"/>
                <a:gd name="T6" fmla="*/ 9 w 64"/>
                <a:gd name="T7" fmla="*/ 3 h 89"/>
                <a:gd name="T8" fmla="*/ 3 w 64"/>
                <a:gd name="T9" fmla="*/ 19 h 89"/>
                <a:gd name="T10" fmla="*/ 32 w 64"/>
                <a:gd name="T11" fmla="*/ 89 h 89"/>
                <a:gd name="T12" fmla="*/ 64 w 64"/>
                <a:gd name="T13" fmla="*/ 8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89">
                  <a:moveTo>
                    <a:pt x="64" y="84"/>
                  </a:moveTo>
                  <a:cubicBezTo>
                    <a:pt x="28" y="10"/>
                    <a:pt x="28" y="10"/>
                    <a:pt x="28" y="10"/>
                  </a:cubicBezTo>
                  <a:cubicBezTo>
                    <a:pt x="24" y="3"/>
                    <a:pt x="16" y="0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3" y="5"/>
                    <a:pt x="0" y="13"/>
                    <a:pt x="3" y="19"/>
                  </a:cubicBezTo>
                  <a:cubicBezTo>
                    <a:pt x="32" y="89"/>
                    <a:pt x="32" y="89"/>
                    <a:pt x="32" y="89"/>
                  </a:cubicBezTo>
                  <a:lnTo>
                    <a:pt x="64" y="84"/>
                  </a:ln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105">
              <a:extLst>
                <a:ext uri="{FF2B5EF4-FFF2-40B4-BE49-F238E27FC236}">
                  <a16:creationId xmlns:a16="http://schemas.microsoft.com/office/drawing/2014/main" id="{4A322ADB-A0F4-48E9-91E5-9ECB62F76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0" y="2017"/>
              <a:ext cx="108" cy="109"/>
            </a:xfrm>
            <a:custGeom>
              <a:avLst/>
              <a:gdLst>
                <a:gd name="T0" fmla="*/ 31 w 60"/>
                <a:gd name="T1" fmla="*/ 61 h 61"/>
                <a:gd name="T2" fmla="*/ 3 w 60"/>
                <a:gd name="T3" fmla="*/ 15 h 61"/>
                <a:gd name="T4" fmla="*/ 8 w 60"/>
                <a:gd name="T5" fmla="*/ 2 h 61"/>
                <a:gd name="T6" fmla="*/ 8 w 60"/>
                <a:gd name="T7" fmla="*/ 2 h 61"/>
                <a:gd name="T8" fmla="*/ 22 w 60"/>
                <a:gd name="T9" fmla="*/ 6 h 61"/>
                <a:gd name="T10" fmla="*/ 60 w 60"/>
                <a:gd name="T11" fmla="*/ 58 h 61"/>
                <a:gd name="T12" fmla="*/ 31 w 60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61">
                  <a:moveTo>
                    <a:pt x="31" y="61"/>
                  </a:moveTo>
                  <a:cubicBezTo>
                    <a:pt x="3" y="15"/>
                    <a:pt x="3" y="15"/>
                    <a:pt x="3" y="15"/>
                  </a:cubicBezTo>
                  <a:cubicBezTo>
                    <a:pt x="0" y="10"/>
                    <a:pt x="3" y="4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3" y="0"/>
                    <a:pt x="19" y="1"/>
                    <a:pt x="22" y="6"/>
                  </a:cubicBezTo>
                  <a:cubicBezTo>
                    <a:pt x="60" y="58"/>
                    <a:pt x="60" y="58"/>
                    <a:pt x="60" y="58"/>
                  </a:cubicBezTo>
                  <a:lnTo>
                    <a:pt x="31" y="61"/>
                  </a:ln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 106">
              <a:extLst>
                <a:ext uri="{FF2B5EF4-FFF2-40B4-BE49-F238E27FC236}">
                  <a16:creationId xmlns:a16="http://schemas.microsoft.com/office/drawing/2014/main" id="{46832AEF-F3B1-4988-9215-F8F4D5607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1" y="2119"/>
              <a:ext cx="84" cy="102"/>
            </a:xfrm>
            <a:custGeom>
              <a:avLst/>
              <a:gdLst>
                <a:gd name="T0" fmla="*/ 47 w 47"/>
                <a:gd name="T1" fmla="*/ 4 h 57"/>
                <a:gd name="T2" fmla="*/ 0 w 47"/>
                <a:gd name="T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7" h="57">
                  <a:moveTo>
                    <a:pt x="47" y="4"/>
                  </a:moveTo>
                  <a:cubicBezTo>
                    <a:pt x="47" y="4"/>
                    <a:pt x="5" y="0"/>
                    <a:pt x="0" y="57"/>
                  </a:cubicBezTo>
                </a:path>
              </a:pathLst>
            </a:custGeom>
            <a:noFill/>
            <a:ln w="17463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 107">
              <a:extLst>
                <a:ext uri="{FF2B5EF4-FFF2-40B4-BE49-F238E27FC236}">
                  <a16:creationId xmlns:a16="http://schemas.microsoft.com/office/drawing/2014/main" id="{73EEC99C-A574-428D-B55A-122D5287E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" y="2248"/>
              <a:ext cx="513" cy="787"/>
            </a:xfrm>
            <a:custGeom>
              <a:avLst/>
              <a:gdLst>
                <a:gd name="T0" fmla="*/ 0 w 286"/>
                <a:gd name="T1" fmla="*/ 317 h 439"/>
                <a:gd name="T2" fmla="*/ 106 w 286"/>
                <a:gd name="T3" fmla="*/ 423 h 439"/>
                <a:gd name="T4" fmla="*/ 286 w 286"/>
                <a:gd name="T5" fmla="*/ 257 h 439"/>
                <a:gd name="T6" fmla="*/ 261 w 286"/>
                <a:gd name="T7" fmla="*/ 0 h 439"/>
                <a:gd name="T8" fmla="*/ 64 w 286"/>
                <a:gd name="T9" fmla="*/ 243 h 439"/>
                <a:gd name="T10" fmla="*/ 0 w 286"/>
                <a:gd name="T11" fmla="*/ 317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6" h="439">
                  <a:moveTo>
                    <a:pt x="0" y="317"/>
                  </a:moveTo>
                  <a:cubicBezTo>
                    <a:pt x="0" y="317"/>
                    <a:pt x="36" y="439"/>
                    <a:pt x="106" y="423"/>
                  </a:cubicBezTo>
                  <a:cubicBezTo>
                    <a:pt x="176" y="407"/>
                    <a:pt x="286" y="257"/>
                    <a:pt x="286" y="257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64" y="243"/>
                    <a:pt x="64" y="243"/>
                    <a:pt x="64" y="243"/>
                  </a:cubicBezTo>
                  <a:lnTo>
                    <a:pt x="0" y="317"/>
                  </a:ln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108">
              <a:extLst>
                <a:ext uri="{FF2B5EF4-FFF2-40B4-BE49-F238E27FC236}">
                  <a16:creationId xmlns:a16="http://schemas.microsoft.com/office/drawing/2014/main" id="{F032239E-F21E-4238-859B-4EEE858B83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7" y="2510"/>
              <a:ext cx="289" cy="283"/>
            </a:xfrm>
            <a:custGeom>
              <a:avLst/>
              <a:gdLst>
                <a:gd name="T0" fmla="*/ 0 w 161"/>
                <a:gd name="T1" fmla="*/ 22 h 158"/>
                <a:gd name="T2" fmla="*/ 124 w 161"/>
                <a:gd name="T3" fmla="*/ 158 h 158"/>
                <a:gd name="T4" fmla="*/ 161 w 161"/>
                <a:gd name="T5" fmla="*/ 111 h 158"/>
                <a:gd name="T6" fmla="*/ 17 w 161"/>
                <a:gd name="T7" fmla="*/ 0 h 158"/>
                <a:gd name="T8" fmla="*/ 0 w 161"/>
                <a:gd name="T9" fmla="*/ 2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58">
                  <a:moveTo>
                    <a:pt x="0" y="22"/>
                  </a:moveTo>
                  <a:cubicBezTo>
                    <a:pt x="0" y="22"/>
                    <a:pt x="67" y="122"/>
                    <a:pt x="124" y="158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0" y="22"/>
                  </a:lnTo>
                  <a:close/>
                </a:path>
              </a:pathLst>
            </a:custGeom>
            <a:solidFill>
              <a:srgbClr val="F39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109">
              <a:extLst>
                <a:ext uri="{FF2B5EF4-FFF2-40B4-BE49-F238E27FC236}">
                  <a16:creationId xmlns:a16="http://schemas.microsoft.com/office/drawing/2014/main" id="{6B7EEA00-02DD-4B21-A864-4372197C9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3" y="2017"/>
              <a:ext cx="537" cy="733"/>
            </a:xfrm>
            <a:custGeom>
              <a:avLst/>
              <a:gdLst>
                <a:gd name="T0" fmla="*/ 300 w 300"/>
                <a:gd name="T1" fmla="*/ 0 h 409"/>
                <a:gd name="T2" fmla="*/ 0 w 300"/>
                <a:gd name="T3" fmla="*/ 272 h 409"/>
                <a:gd name="T4" fmla="*/ 164 w 300"/>
                <a:gd name="T5" fmla="*/ 409 h 409"/>
                <a:gd name="T6" fmla="*/ 231 w 300"/>
                <a:gd name="T7" fmla="*/ 326 h 409"/>
                <a:gd name="T8" fmla="*/ 300 w 300"/>
                <a:gd name="T9" fmla="*/ 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409">
                  <a:moveTo>
                    <a:pt x="300" y="0"/>
                  </a:moveTo>
                  <a:cubicBezTo>
                    <a:pt x="300" y="0"/>
                    <a:pt x="104" y="44"/>
                    <a:pt x="0" y="272"/>
                  </a:cubicBezTo>
                  <a:cubicBezTo>
                    <a:pt x="0" y="272"/>
                    <a:pt x="63" y="366"/>
                    <a:pt x="164" y="409"/>
                  </a:cubicBezTo>
                  <a:cubicBezTo>
                    <a:pt x="231" y="326"/>
                    <a:pt x="231" y="326"/>
                    <a:pt x="231" y="326"/>
                  </a:cubicBezTo>
                  <a:lnTo>
                    <a:pt x="300" y="0"/>
                  </a:lnTo>
                  <a:close/>
                </a:path>
              </a:pathLst>
            </a:custGeom>
            <a:solidFill>
              <a:srgbClr val="C98B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110">
              <a:extLst>
                <a:ext uri="{FF2B5EF4-FFF2-40B4-BE49-F238E27FC236}">
                  <a16:creationId xmlns:a16="http://schemas.microsoft.com/office/drawing/2014/main" id="{A388D1EB-43E1-4D21-8702-7EC38E7B7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6" y="1967"/>
              <a:ext cx="890" cy="1402"/>
            </a:xfrm>
            <a:custGeom>
              <a:avLst/>
              <a:gdLst>
                <a:gd name="T0" fmla="*/ 125 w 497"/>
                <a:gd name="T1" fmla="*/ 28 h 783"/>
                <a:gd name="T2" fmla="*/ 0 w 497"/>
                <a:gd name="T3" fmla="*/ 119 h 783"/>
                <a:gd name="T4" fmla="*/ 15 w 497"/>
                <a:gd name="T5" fmla="*/ 783 h 783"/>
                <a:gd name="T6" fmla="*/ 497 w 497"/>
                <a:gd name="T7" fmla="*/ 783 h 783"/>
                <a:gd name="T8" fmla="*/ 495 w 497"/>
                <a:gd name="T9" fmla="*/ 122 h 783"/>
                <a:gd name="T10" fmla="*/ 369 w 497"/>
                <a:gd name="T11" fmla="*/ 34 h 783"/>
                <a:gd name="T12" fmla="*/ 125 w 497"/>
                <a:gd name="T13" fmla="*/ 28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7" h="783">
                  <a:moveTo>
                    <a:pt x="125" y="28"/>
                  </a:moveTo>
                  <a:cubicBezTo>
                    <a:pt x="48" y="67"/>
                    <a:pt x="0" y="119"/>
                    <a:pt x="0" y="119"/>
                  </a:cubicBezTo>
                  <a:cubicBezTo>
                    <a:pt x="15" y="783"/>
                    <a:pt x="15" y="783"/>
                    <a:pt x="15" y="783"/>
                  </a:cubicBezTo>
                  <a:cubicBezTo>
                    <a:pt x="497" y="783"/>
                    <a:pt x="497" y="783"/>
                    <a:pt x="497" y="783"/>
                  </a:cubicBezTo>
                  <a:cubicBezTo>
                    <a:pt x="495" y="122"/>
                    <a:pt x="495" y="122"/>
                    <a:pt x="495" y="122"/>
                  </a:cubicBezTo>
                  <a:cubicBezTo>
                    <a:pt x="495" y="122"/>
                    <a:pt x="434" y="63"/>
                    <a:pt x="369" y="34"/>
                  </a:cubicBezTo>
                  <a:cubicBezTo>
                    <a:pt x="313" y="9"/>
                    <a:pt x="179" y="0"/>
                    <a:pt x="125" y="28"/>
                  </a:cubicBezTo>
                  <a:close/>
                </a:path>
              </a:pathLst>
            </a:custGeom>
            <a:solidFill>
              <a:srgbClr val="C98B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111">
              <a:extLst>
                <a:ext uri="{FF2B5EF4-FFF2-40B4-BE49-F238E27FC236}">
                  <a16:creationId xmlns:a16="http://schemas.microsoft.com/office/drawing/2014/main" id="{1316BE97-5549-4D45-B36B-ACD6CD5FA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7" y="2356"/>
              <a:ext cx="240" cy="240"/>
            </a:xfrm>
            <a:custGeom>
              <a:avLst/>
              <a:gdLst>
                <a:gd name="T0" fmla="*/ 67 w 134"/>
                <a:gd name="T1" fmla="*/ 134 h 134"/>
                <a:gd name="T2" fmla="*/ 67 w 134"/>
                <a:gd name="T3" fmla="*/ 134 h 134"/>
                <a:gd name="T4" fmla="*/ 0 w 134"/>
                <a:gd name="T5" fmla="*/ 67 h 134"/>
                <a:gd name="T6" fmla="*/ 0 w 134"/>
                <a:gd name="T7" fmla="*/ 0 h 134"/>
                <a:gd name="T8" fmla="*/ 134 w 134"/>
                <a:gd name="T9" fmla="*/ 0 h 134"/>
                <a:gd name="T10" fmla="*/ 134 w 134"/>
                <a:gd name="T11" fmla="*/ 67 h 134"/>
                <a:gd name="T12" fmla="*/ 67 w 134"/>
                <a:gd name="T1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67" y="134"/>
                    <a:pt x="67" y="134"/>
                    <a:pt x="67" y="134"/>
                  </a:cubicBezTo>
                  <a:cubicBezTo>
                    <a:pt x="30" y="134"/>
                    <a:pt x="0" y="104"/>
                    <a:pt x="0" y="6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4" y="67"/>
                    <a:pt x="134" y="67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</a:path>
              </a:pathLst>
            </a:custGeom>
            <a:noFill/>
            <a:ln w="17463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Line 112">
              <a:extLst>
                <a:ext uri="{FF2B5EF4-FFF2-40B4-BE49-F238E27FC236}">
                  <a16:creationId xmlns:a16="http://schemas.microsoft.com/office/drawing/2014/main" id="{A20105CF-DF09-413B-A336-5E798301654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525" y="2383"/>
              <a:ext cx="10" cy="390"/>
            </a:xfrm>
            <a:prstGeom prst="line">
              <a:avLst/>
            </a:prstGeom>
            <a:noFill/>
            <a:ln w="17463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Line 113">
              <a:extLst>
                <a:ext uri="{FF2B5EF4-FFF2-40B4-BE49-F238E27FC236}">
                  <a16:creationId xmlns:a16="http://schemas.microsoft.com/office/drawing/2014/main" id="{392559BD-1A2F-4218-87D4-7BFD74166E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631" y="2370"/>
              <a:ext cx="20" cy="337"/>
            </a:xfrm>
            <a:prstGeom prst="line">
              <a:avLst/>
            </a:prstGeom>
            <a:noFill/>
            <a:ln w="17463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114">
              <a:extLst>
                <a:ext uri="{FF2B5EF4-FFF2-40B4-BE49-F238E27FC236}">
                  <a16:creationId xmlns:a16="http://schemas.microsoft.com/office/drawing/2014/main" id="{40635785-FF5E-4FBE-B7E4-B180842AF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6" y="1245"/>
              <a:ext cx="147" cy="337"/>
            </a:xfrm>
            <a:custGeom>
              <a:avLst/>
              <a:gdLst>
                <a:gd name="T0" fmla="*/ 24 w 82"/>
                <a:gd name="T1" fmla="*/ 188 h 188"/>
                <a:gd name="T2" fmla="*/ 4 w 82"/>
                <a:gd name="T3" fmla="*/ 89 h 188"/>
                <a:gd name="T4" fmla="*/ 4 w 82"/>
                <a:gd name="T5" fmla="*/ 56 h 188"/>
                <a:gd name="T6" fmla="*/ 73 w 82"/>
                <a:gd name="T7" fmla="*/ 17 h 188"/>
                <a:gd name="T8" fmla="*/ 82 w 82"/>
                <a:gd name="T9" fmla="*/ 56 h 188"/>
                <a:gd name="T10" fmla="*/ 24 w 82"/>
                <a:gd name="T11" fmla="*/ 119 h 188"/>
                <a:gd name="T12" fmla="*/ 24 w 82"/>
                <a:gd name="T13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188">
                  <a:moveTo>
                    <a:pt x="24" y="188"/>
                  </a:moveTo>
                  <a:cubicBezTo>
                    <a:pt x="4" y="89"/>
                    <a:pt x="4" y="89"/>
                    <a:pt x="4" y="89"/>
                  </a:cubicBezTo>
                  <a:cubicBezTo>
                    <a:pt x="3" y="81"/>
                    <a:pt x="0" y="68"/>
                    <a:pt x="4" y="56"/>
                  </a:cubicBezTo>
                  <a:cubicBezTo>
                    <a:pt x="10" y="37"/>
                    <a:pt x="33" y="0"/>
                    <a:pt x="73" y="17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41" y="64"/>
                    <a:pt x="24" y="119"/>
                  </a:cubicBezTo>
                  <a:lnTo>
                    <a:pt x="24" y="188"/>
                  </a:ln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115">
              <a:extLst>
                <a:ext uri="{FF2B5EF4-FFF2-40B4-BE49-F238E27FC236}">
                  <a16:creationId xmlns:a16="http://schemas.microsoft.com/office/drawing/2014/main" id="{1A05DF93-EA07-4B8F-956B-0F538BB3E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4" y="1311"/>
              <a:ext cx="157" cy="163"/>
            </a:xfrm>
            <a:custGeom>
              <a:avLst/>
              <a:gdLst>
                <a:gd name="T0" fmla="*/ 88 w 88"/>
                <a:gd name="T1" fmla="*/ 0 h 91"/>
                <a:gd name="T2" fmla="*/ 36 w 88"/>
                <a:gd name="T3" fmla="*/ 91 h 91"/>
                <a:gd name="T4" fmla="*/ 88 w 88"/>
                <a:gd name="T5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8" h="91">
                  <a:moveTo>
                    <a:pt x="88" y="0"/>
                  </a:moveTo>
                  <a:cubicBezTo>
                    <a:pt x="88" y="13"/>
                    <a:pt x="76" y="70"/>
                    <a:pt x="36" y="91"/>
                  </a:cubicBezTo>
                  <a:cubicBezTo>
                    <a:pt x="36" y="91"/>
                    <a:pt x="0" y="15"/>
                    <a:pt x="88" y="0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116">
              <a:extLst>
                <a:ext uri="{FF2B5EF4-FFF2-40B4-BE49-F238E27FC236}">
                  <a16:creationId xmlns:a16="http://schemas.microsoft.com/office/drawing/2014/main" id="{B52FD75B-41B9-4484-8702-9526C42BE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6" y="1682"/>
              <a:ext cx="451" cy="470"/>
            </a:xfrm>
            <a:custGeom>
              <a:avLst/>
              <a:gdLst>
                <a:gd name="T0" fmla="*/ 201 w 252"/>
                <a:gd name="T1" fmla="*/ 168 h 262"/>
                <a:gd name="T2" fmla="*/ 201 w 252"/>
                <a:gd name="T3" fmla="*/ 168 h 262"/>
                <a:gd name="T4" fmla="*/ 201 w 252"/>
                <a:gd name="T5" fmla="*/ 0 h 262"/>
                <a:gd name="T6" fmla="*/ 46 w 252"/>
                <a:gd name="T7" fmla="*/ 0 h 262"/>
                <a:gd name="T8" fmla="*/ 46 w 252"/>
                <a:gd name="T9" fmla="*/ 168 h 262"/>
                <a:gd name="T10" fmla="*/ 0 w 252"/>
                <a:gd name="T11" fmla="*/ 189 h 262"/>
                <a:gd name="T12" fmla="*/ 125 w 252"/>
                <a:gd name="T13" fmla="*/ 261 h 262"/>
                <a:gd name="T14" fmla="*/ 252 w 252"/>
                <a:gd name="T15" fmla="*/ 193 h 262"/>
                <a:gd name="T16" fmla="*/ 201 w 252"/>
                <a:gd name="T17" fmla="*/ 168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2" h="262">
                  <a:moveTo>
                    <a:pt x="201" y="168"/>
                  </a:moveTo>
                  <a:cubicBezTo>
                    <a:pt x="201" y="168"/>
                    <a:pt x="201" y="168"/>
                    <a:pt x="201" y="168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168"/>
                    <a:pt x="46" y="168"/>
                    <a:pt x="46" y="168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89"/>
                    <a:pt x="11" y="259"/>
                    <a:pt x="125" y="261"/>
                  </a:cubicBezTo>
                  <a:cubicBezTo>
                    <a:pt x="240" y="262"/>
                    <a:pt x="252" y="193"/>
                    <a:pt x="252" y="193"/>
                  </a:cubicBezTo>
                  <a:lnTo>
                    <a:pt x="201" y="168"/>
                  </a:ln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117">
              <a:extLst>
                <a:ext uri="{FF2B5EF4-FFF2-40B4-BE49-F238E27FC236}">
                  <a16:creationId xmlns:a16="http://schemas.microsoft.com/office/drawing/2014/main" id="{F1B2E284-DA42-4ADD-9385-EA2FAF4B1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7" y="1141"/>
              <a:ext cx="347" cy="441"/>
            </a:xfrm>
            <a:custGeom>
              <a:avLst/>
              <a:gdLst>
                <a:gd name="T0" fmla="*/ 0 w 194"/>
                <a:gd name="T1" fmla="*/ 75 h 246"/>
                <a:gd name="T2" fmla="*/ 117 w 194"/>
                <a:gd name="T3" fmla="*/ 40 h 246"/>
                <a:gd name="T4" fmla="*/ 191 w 194"/>
                <a:gd name="T5" fmla="*/ 119 h 246"/>
                <a:gd name="T6" fmla="*/ 194 w 194"/>
                <a:gd name="T7" fmla="*/ 146 h 246"/>
                <a:gd name="T8" fmla="*/ 172 w 194"/>
                <a:gd name="T9" fmla="*/ 246 h 246"/>
                <a:gd name="T10" fmla="*/ 89 w 194"/>
                <a:gd name="T11" fmla="*/ 108 h 246"/>
                <a:gd name="T12" fmla="*/ 9 w 194"/>
                <a:gd name="T13" fmla="*/ 114 h 246"/>
                <a:gd name="T14" fmla="*/ 0 w 194"/>
                <a:gd name="T15" fmla="*/ 7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4" h="246">
                  <a:moveTo>
                    <a:pt x="0" y="75"/>
                  </a:moveTo>
                  <a:cubicBezTo>
                    <a:pt x="0" y="75"/>
                    <a:pt x="29" y="0"/>
                    <a:pt x="117" y="40"/>
                  </a:cubicBezTo>
                  <a:cubicBezTo>
                    <a:pt x="170" y="64"/>
                    <a:pt x="185" y="96"/>
                    <a:pt x="191" y="119"/>
                  </a:cubicBezTo>
                  <a:cubicBezTo>
                    <a:pt x="193" y="127"/>
                    <a:pt x="194" y="139"/>
                    <a:pt x="194" y="146"/>
                  </a:cubicBezTo>
                  <a:cubicBezTo>
                    <a:pt x="172" y="246"/>
                    <a:pt x="172" y="246"/>
                    <a:pt x="172" y="246"/>
                  </a:cubicBezTo>
                  <a:cubicBezTo>
                    <a:pt x="89" y="108"/>
                    <a:pt x="89" y="108"/>
                    <a:pt x="89" y="108"/>
                  </a:cubicBezTo>
                  <a:cubicBezTo>
                    <a:pt x="9" y="114"/>
                    <a:pt x="9" y="114"/>
                    <a:pt x="9" y="114"/>
                  </a:cubicBezTo>
                  <a:lnTo>
                    <a:pt x="0" y="75"/>
                  </a:ln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118">
              <a:extLst>
                <a:ext uri="{FF2B5EF4-FFF2-40B4-BE49-F238E27FC236}">
                  <a16:creationId xmlns:a16="http://schemas.microsoft.com/office/drawing/2014/main" id="{600F94F7-233A-4EF5-A27C-12D9ECB8C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551"/>
              <a:ext cx="113" cy="140"/>
            </a:xfrm>
            <a:custGeom>
              <a:avLst/>
              <a:gdLst>
                <a:gd name="T0" fmla="*/ 9 w 63"/>
                <a:gd name="T1" fmla="*/ 17 h 78"/>
                <a:gd name="T2" fmla="*/ 41 w 63"/>
                <a:gd name="T3" fmla="*/ 8 h 78"/>
                <a:gd name="T4" fmla="*/ 21 w 63"/>
                <a:gd name="T5" fmla="*/ 76 h 78"/>
                <a:gd name="T6" fmla="*/ 0 w 63"/>
                <a:gd name="T7" fmla="*/ 70 h 78"/>
                <a:gd name="T8" fmla="*/ 9 w 63"/>
                <a:gd name="T9" fmla="*/ 1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78">
                  <a:moveTo>
                    <a:pt x="9" y="17"/>
                  </a:moveTo>
                  <a:cubicBezTo>
                    <a:pt x="9" y="17"/>
                    <a:pt x="20" y="0"/>
                    <a:pt x="41" y="8"/>
                  </a:cubicBezTo>
                  <a:cubicBezTo>
                    <a:pt x="63" y="17"/>
                    <a:pt x="53" y="69"/>
                    <a:pt x="21" y="76"/>
                  </a:cubicBezTo>
                  <a:cubicBezTo>
                    <a:pt x="21" y="76"/>
                    <a:pt x="9" y="78"/>
                    <a:pt x="0" y="70"/>
                  </a:cubicBezTo>
                  <a:cubicBezTo>
                    <a:pt x="0" y="70"/>
                    <a:pt x="8" y="32"/>
                    <a:pt x="9" y="17"/>
                  </a:cubicBezTo>
                  <a:close/>
                </a:path>
              </a:pathLst>
            </a:custGeom>
            <a:solidFill>
              <a:srgbClr val="F39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119">
              <a:extLst>
                <a:ext uri="{FF2B5EF4-FFF2-40B4-BE49-F238E27FC236}">
                  <a16:creationId xmlns:a16="http://schemas.microsoft.com/office/drawing/2014/main" id="{BC9CE313-83A3-4817-9B10-47AA4DE44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0" y="1589"/>
              <a:ext cx="55" cy="48"/>
            </a:xfrm>
            <a:custGeom>
              <a:avLst/>
              <a:gdLst>
                <a:gd name="T0" fmla="*/ 31 w 31"/>
                <a:gd name="T1" fmla="*/ 6 h 27"/>
                <a:gd name="T2" fmla="*/ 0 w 31"/>
                <a:gd name="T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1" h="27">
                  <a:moveTo>
                    <a:pt x="31" y="6"/>
                  </a:moveTo>
                  <a:cubicBezTo>
                    <a:pt x="31" y="6"/>
                    <a:pt x="13" y="0"/>
                    <a:pt x="0" y="27"/>
                  </a:cubicBezTo>
                </a:path>
              </a:pathLst>
            </a:custGeom>
            <a:noFill/>
            <a:ln w="17463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120">
              <a:extLst>
                <a:ext uri="{FF2B5EF4-FFF2-40B4-BE49-F238E27FC236}">
                  <a16:creationId xmlns:a16="http://schemas.microsoft.com/office/drawing/2014/main" id="{2C932E92-AADB-4692-87BE-9CD7AD1B70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4" y="1551"/>
              <a:ext cx="111" cy="140"/>
            </a:xfrm>
            <a:custGeom>
              <a:avLst/>
              <a:gdLst>
                <a:gd name="T0" fmla="*/ 53 w 62"/>
                <a:gd name="T1" fmla="*/ 17 h 78"/>
                <a:gd name="T2" fmla="*/ 21 w 62"/>
                <a:gd name="T3" fmla="*/ 8 h 78"/>
                <a:gd name="T4" fmla="*/ 42 w 62"/>
                <a:gd name="T5" fmla="*/ 76 h 78"/>
                <a:gd name="T6" fmla="*/ 62 w 62"/>
                <a:gd name="T7" fmla="*/ 70 h 78"/>
                <a:gd name="T8" fmla="*/ 53 w 62"/>
                <a:gd name="T9" fmla="*/ 1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78">
                  <a:moveTo>
                    <a:pt x="53" y="17"/>
                  </a:moveTo>
                  <a:cubicBezTo>
                    <a:pt x="53" y="17"/>
                    <a:pt x="43" y="0"/>
                    <a:pt x="21" y="8"/>
                  </a:cubicBezTo>
                  <a:cubicBezTo>
                    <a:pt x="0" y="17"/>
                    <a:pt x="9" y="69"/>
                    <a:pt x="42" y="76"/>
                  </a:cubicBezTo>
                  <a:cubicBezTo>
                    <a:pt x="42" y="76"/>
                    <a:pt x="53" y="78"/>
                    <a:pt x="62" y="70"/>
                  </a:cubicBezTo>
                  <a:cubicBezTo>
                    <a:pt x="62" y="70"/>
                    <a:pt x="54" y="32"/>
                    <a:pt x="53" y="17"/>
                  </a:cubicBezTo>
                  <a:close/>
                </a:path>
              </a:pathLst>
            </a:custGeom>
            <a:solidFill>
              <a:srgbClr val="F39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121">
              <a:extLst>
                <a:ext uri="{FF2B5EF4-FFF2-40B4-BE49-F238E27FC236}">
                  <a16:creationId xmlns:a16="http://schemas.microsoft.com/office/drawing/2014/main" id="{ABB8DEAC-37CB-4B3B-85CB-3ED2757BE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9" y="1589"/>
              <a:ext cx="55" cy="48"/>
            </a:xfrm>
            <a:custGeom>
              <a:avLst/>
              <a:gdLst>
                <a:gd name="T0" fmla="*/ 0 w 31"/>
                <a:gd name="T1" fmla="*/ 6 h 27"/>
                <a:gd name="T2" fmla="*/ 31 w 31"/>
                <a:gd name="T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1" h="27">
                  <a:moveTo>
                    <a:pt x="0" y="6"/>
                  </a:moveTo>
                  <a:cubicBezTo>
                    <a:pt x="0" y="6"/>
                    <a:pt x="19" y="0"/>
                    <a:pt x="31" y="27"/>
                  </a:cubicBezTo>
                </a:path>
              </a:pathLst>
            </a:custGeom>
            <a:noFill/>
            <a:ln w="17463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122">
              <a:extLst>
                <a:ext uri="{FF2B5EF4-FFF2-40B4-BE49-F238E27FC236}">
                  <a16:creationId xmlns:a16="http://schemas.microsoft.com/office/drawing/2014/main" id="{49A966B5-A0F9-434D-8EBD-DFEEF44C6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4" y="1292"/>
              <a:ext cx="412" cy="551"/>
            </a:xfrm>
            <a:custGeom>
              <a:avLst/>
              <a:gdLst>
                <a:gd name="T0" fmla="*/ 227 w 230"/>
                <a:gd name="T1" fmla="*/ 112 h 308"/>
                <a:gd name="T2" fmla="*/ 204 w 230"/>
                <a:gd name="T3" fmla="*/ 249 h 308"/>
                <a:gd name="T4" fmla="*/ 116 w 230"/>
                <a:gd name="T5" fmla="*/ 307 h 308"/>
                <a:gd name="T6" fmla="*/ 23 w 230"/>
                <a:gd name="T7" fmla="*/ 245 h 308"/>
                <a:gd name="T8" fmla="*/ 1 w 230"/>
                <a:gd name="T9" fmla="*/ 113 h 308"/>
                <a:gd name="T10" fmla="*/ 112 w 230"/>
                <a:gd name="T11" fmla="*/ 0 h 308"/>
                <a:gd name="T12" fmla="*/ 227 w 230"/>
                <a:gd name="T1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08">
                  <a:moveTo>
                    <a:pt x="227" y="112"/>
                  </a:moveTo>
                  <a:cubicBezTo>
                    <a:pt x="227" y="144"/>
                    <a:pt x="223" y="210"/>
                    <a:pt x="204" y="249"/>
                  </a:cubicBezTo>
                  <a:cubicBezTo>
                    <a:pt x="186" y="286"/>
                    <a:pt x="156" y="306"/>
                    <a:pt x="116" y="307"/>
                  </a:cubicBezTo>
                  <a:cubicBezTo>
                    <a:pt x="76" y="308"/>
                    <a:pt x="47" y="293"/>
                    <a:pt x="23" y="245"/>
                  </a:cubicBezTo>
                  <a:cubicBezTo>
                    <a:pt x="0" y="197"/>
                    <a:pt x="1" y="113"/>
                    <a:pt x="1" y="113"/>
                  </a:cubicBezTo>
                  <a:cubicBezTo>
                    <a:pt x="1" y="113"/>
                    <a:pt x="1" y="0"/>
                    <a:pt x="112" y="0"/>
                  </a:cubicBezTo>
                  <a:cubicBezTo>
                    <a:pt x="230" y="0"/>
                    <a:pt x="227" y="112"/>
                    <a:pt x="227" y="112"/>
                  </a:cubicBezTo>
                  <a:close/>
                </a:path>
              </a:pathLst>
            </a:custGeom>
            <a:solidFill>
              <a:srgbClr val="FFB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123">
              <a:extLst>
                <a:ext uri="{FF2B5EF4-FFF2-40B4-BE49-F238E27FC236}">
                  <a16:creationId xmlns:a16="http://schemas.microsoft.com/office/drawing/2014/main" id="{E42694D0-C243-476F-AFDD-654394145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0" y="1774"/>
              <a:ext cx="276" cy="146"/>
            </a:xfrm>
            <a:custGeom>
              <a:avLst/>
              <a:gdLst>
                <a:gd name="T0" fmla="*/ 0 w 154"/>
                <a:gd name="T1" fmla="*/ 0 h 82"/>
                <a:gd name="T2" fmla="*/ 71 w 154"/>
                <a:gd name="T3" fmla="*/ 73 h 82"/>
                <a:gd name="T4" fmla="*/ 154 w 154"/>
                <a:gd name="T5" fmla="*/ 1 h 82"/>
                <a:gd name="T6" fmla="*/ 79 w 154"/>
                <a:gd name="T7" fmla="*/ 38 h 82"/>
                <a:gd name="T8" fmla="*/ 0 w 154"/>
                <a:gd name="T9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82">
                  <a:moveTo>
                    <a:pt x="0" y="0"/>
                  </a:moveTo>
                  <a:cubicBezTo>
                    <a:pt x="0" y="0"/>
                    <a:pt x="13" y="66"/>
                    <a:pt x="71" y="73"/>
                  </a:cubicBezTo>
                  <a:cubicBezTo>
                    <a:pt x="137" y="82"/>
                    <a:pt x="154" y="1"/>
                    <a:pt x="154" y="1"/>
                  </a:cubicBezTo>
                  <a:cubicBezTo>
                    <a:pt x="154" y="1"/>
                    <a:pt x="125" y="38"/>
                    <a:pt x="79" y="38"/>
                  </a:cubicBezTo>
                  <a:cubicBezTo>
                    <a:pt x="27" y="38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24">
              <a:extLst>
                <a:ext uri="{FF2B5EF4-FFF2-40B4-BE49-F238E27FC236}">
                  <a16:creationId xmlns:a16="http://schemas.microsoft.com/office/drawing/2014/main" id="{81329B93-B0C4-431D-BBF2-DB1257420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1577"/>
              <a:ext cx="34" cy="62"/>
            </a:xfrm>
            <a:custGeom>
              <a:avLst/>
              <a:gdLst>
                <a:gd name="T0" fmla="*/ 0 w 19"/>
                <a:gd name="T1" fmla="*/ 0 h 35"/>
                <a:gd name="T2" fmla="*/ 0 w 19"/>
                <a:gd name="T3" fmla="*/ 26 h 35"/>
                <a:gd name="T4" fmla="*/ 0 w 19"/>
                <a:gd name="T5" fmla="*/ 29 h 35"/>
                <a:gd name="T6" fmla="*/ 10 w 19"/>
                <a:gd name="T7" fmla="*/ 34 h 35"/>
                <a:gd name="T8" fmla="*/ 19 w 19"/>
                <a:gd name="T9" fmla="*/ 3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35">
                  <a:moveTo>
                    <a:pt x="0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8"/>
                    <a:pt x="0" y="29"/>
                  </a:cubicBezTo>
                  <a:cubicBezTo>
                    <a:pt x="2" y="33"/>
                    <a:pt x="6" y="35"/>
                    <a:pt x="10" y="34"/>
                  </a:cubicBezTo>
                  <a:cubicBezTo>
                    <a:pt x="19" y="32"/>
                    <a:pt x="19" y="32"/>
                    <a:pt x="19" y="32"/>
                  </a:cubicBezTo>
                </a:path>
              </a:pathLst>
            </a:custGeom>
            <a:noFill/>
            <a:ln w="17463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Oval 125">
              <a:extLst>
                <a:ext uri="{FF2B5EF4-FFF2-40B4-BE49-F238E27FC236}">
                  <a16:creationId xmlns:a16="http://schemas.microsoft.com/office/drawing/2014/main" id="{C4BE56D0-14F9-487E-B6B0-CF10C70762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7" y="1535"/>
              <a:ext cx="37" cy="38"/>
            </a:xfrm>
            <a:prstGeom prst="ellipse">
              <a:avLst/>
            </a:pr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Oval 126">
              <a:extLst>
                <a:ext uri="{FF2B5EF4-FFF2-40B4-BE49-F238E27FC236}">
                  <a16:creationId xmlns:a16="http://schemas.microsoft.com/office/drawing/2014/main" id="{3F75DB79-3829-49A4-BDFE-DDF754D137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9" y="1535"/>
              <a:ext cx="36" cy="38"/>
            </a:xfrm>
            <a:prstGeom prst="ellipse">
              <a:avLst/>
            </a:pr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27">
              <a:extLst>
                <a:ext uri="{FF2B5EF4-FFF2-40B4-BE49-F238E27FC236}">
                  <a16:creationId xmlns:a16="http://schemas.microsoft.com/office/drawing/2014/main" id="{6E51B4D0-2335-4F7C-872A-9627CFB48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0" y="1435"/>
              <a:ext cx="122" cy="61"/>
            </a:xfrm>
            <a:custGeom>
              <a:avLst/>
              <a:gdLst>
                <a:gd name="T0" fmla="*/ 0 w 68"/>
                <a:gd name="T1" fmla="*/ 16 h 34"/>
                <a:gd name="T2" fmla="*/ 68 w 68"/>
                <a:gd name="T3" fmla="*/ 34 h 34"/>
                <a:gd name="T4" fmla="*/ 37 w 68"/>
                <a:gd name="T5" fmla="*/ 7 h 34"/>
                <a:gd name="T6" fmla="*/ 0 w 68"/>
                <a:gd name="T7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34">
                  <a:moveTo>
                    <a:pt x="0" y="16"/>
                  </a:moveTo>
                  <a:cubicBezTo>
                    <a:pt x="68" y="34"/>
                    <a:pt x="68" y="34"/>
                    <a:pt x="68" y="34"/>
                  </a:cubicBezTo>
                  <a:cubicBezTo>
                    <a:pt x="68" y="34"/>
                    <a:pt x="65" y="14"/>
                    <a:pt x="37" y="7"/>
                  </a:cubicBezTo>
                  <a:cubicBezTo>
                    <a:pt x="9" y="0"/>
                    <a:pt x="0" y="16"/>
                    <a:pt x="0" y="16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28">
              <a:extLst>
                <a:ext uri="{FF2B5EF4-FFF2-40B4-BE49-F238E27FC236}">
                  <a16:creationId xmlns:a16="http://schemas.microsoft.com/office/drawing/2014/main" id="{99039198-CE7E-426F-810B-C7263EA80E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1" y="1435"/>
              <a:ext cx="122" cy="61"/>
            </a:xfrm>
            <a:custGeom>
              <a:avLst/>
              <a:gdLst>
                <a:gd name="T0" fmla="*/ 68 w 68"/>
                <a:gd name="T1" fmla="*/ 16 h 34"/>
                <a:gd name="T2" fmla="*/ 0 w 68"/>
                <a:gd name="T3" fmla="*/ 34 h 34"/>
                <a:gd name="T4" fmla="*/ 31 w 68"/>
                <a:gd name="T5" fmla="*/ 7 h 34"/>
                <a:gd name="T6" fmla="*/ 68 w 68"/>
                <a:gd name="T7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34">
                  <a:moveTo>
                    <a:pt x="68" y="16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0" y="34"/>
                    <a:pt x="3" y="14"/>
                    <a:pt x="31" y="7"/>
                  </a:cubicBezTo>
                  <a:cubicBezTo>
                    <a:pt x="59" y="0"/>
                    <a:pt x="68" y="16"/>
                    <a:pt x="68" y="16"/>
                  </a:cubicBez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29">
              <a:extLst>
                <a:ext uri="{FF2B5EF4-FFF2-40B4-BE49-F238E27FC236}">
                  <a16:creationId xmlns:a16="http://schemas.microsoft.com/office/drawing/2014/main" id="{2C49F78D-BBA1-4C0B-81F4-F2051473D4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0" y="1671"/>
              <a:ext cx="136" cy="13"/>
            </a:xfrm>
            <a:custGeom>
              <a:avLst/>
              <a:gdLst>
                <a:gd name="T0" fmla="*/ 0 w 76"/>
                <a:gd name="T1" fmla="*/ 0 h 7"/>
                <a:gd name="T2" fmla="*/ 36 w 76"/>
                <a:gd name="T3" fmla="*/ 7 h 7"/>
                <a:gd name="T4" fmla="*/ 76 w 76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6" h="7">
                  <a:moveTo>
                    <a:pt x="0" y="0"/>
                  </a:moveTo>
                  <a:cubicBezTo>
                    <a:pt x="0" y="0"/>
                    <a:pt x="10" y="7"/>
                    <a:pt x="36" y="7"/>
                  </a:cubicBezTo>
                  <a:cubicBezTo>
                    <a:pt x="60" y="7"/>
                    <a:pt x="76" y="0"/>
                    <a:pt x="76" y="0"/>
                  </a:cubicBezTo>
                </a:path>
              </a:pathLst>
            </a:custGeom>
            <a:noFill/>
            <a:ln w="17463" cap="rnd">
              <a:solidFill>
                <a:srgbClr val="28282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Oval 130">
              <a:extLst>
                <a:ext uri="{FF2B5EF4-FFF2-40B4-BE49-F238E27FC236}">
                  <a16:creationId xmlns:a16="http://schemas.microsoft.com/office/drawing/2014/main" id="{FE0855A5-F638-4B41-BF0A-25E338BFFF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4" y="1482"/>
              <a:ext cx="154" cy="155"/>
            </a:xfrm>
            <a:prstGeom prst="ellipse">
              <a:avLst/>
            </a:prstGeom>
            <a:noFill/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Oval 131">
              <a:extLst>
                <a:ext uri="{FF2B5EF4-FFF2-40B4-BE49-F238E27FC236}">
                  <a16:creationId xmlns:a16="http://schemas.microsoft.com/office/drawing/2014/main" id="{4F756656-D4BF-4F32-8234-9C46B9E186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4" y="1482"/>
              <a:ext cx="154" cy="155"/>
            </a:xfrm>
            <a:prstGeom prst="ellipse">
              <a:avLst/>
            </a:prstGeom>
            <a:noFill/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32">
              <a:extLst>
                <a:ext uri="{FF2B5EF4-FFF2-40B4-BE49-F238E27FC236}">
                  <a16:creationId xmlns:a16="http://schemas.microsoft.com/office/drawing/2014/main" id="{4293A1B1-D114-4B70-A060-9B47D50D6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8" y="1543"/>
              <a:ext cx="36" cy="16"/>
            </a:xfrm>
            <a:custGeom>
              <a:avLst/>
              <a:gdLst>
                <a:gd name="T0" fmla="*/ 0 w 20"/>
                <a:gd name="T1" fmla="*/ 9 h 9"/>
                <a:gd name="T2" fmla="*/ 20 w 20"/>
                <a:gd name="T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0" h="9">
                  <a:moveTo>
                    <a:pt x="0" y="9"/>
                  </a:moveTo>
                  <a:cubicBezTo>
                    <a:pt x="0" y="9"/>
                    <a:pt x="10" y="0"/>
                    <a:pt x="20" y="9"/>
                  </a:cubicBezTo>
                </a:path>
              </a:pathLst>
            </a:custGeom>
            <a:noFill/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Line 133">
              <a:extLst>
                <a:ext uri="{FF2B5EF4-FFF2-40B4-BE49-F238E27FC236}">
                  <a16:creationId xmlns:a16="http://schemas.microsoft.com/office/drawing/2014/main" id="{78C15B69-C671-45B2-A5A9-1E9CC5F553B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867" y="1559"/>
              <a:ext cx="27" cy="0"/>
            </a:xfrm>
            <a:prstGeom prst="line">
              <a:avLst/>
            </a:prstGeom>
            <a:noFill/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Line 134">
              <a:extLst>
                <a:ext uri="{FF2B5EF4-FFF2-40B4-BE49-F238E27FC236}">
                  <a16:creationId xmlns:a16="http://schemas.microsoft.com/office/drawing/2014/main" id="{EFA8E307-0BC4-4087-A077-0F513CAC95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38" y="1559"/>
              <a:ext cx="29" cy="0"/>
            </a:xfrm>
            <a:prstGeom prst="line">
              <a:avLst/>
            </a:prstGeom>
            <a:noFill/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35">
              <a:extLst>
                <a:ext uri="{FF2B5EF4-FFF2-40B4-BE49-F238E27FC236}">
                  <a16:creationId xmlns:a16="http://schemas.microsoft.com/office/drawing/2014/main" id="{C618A2B5-B533-4DF0-AD4D-EDB454A1C8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0" y="1272"/>
              <a:ext cx="346" cy="228"/>
            </a:xfrm>
            <a:custGeom>
              <a:avLst/>
              <a:gdLst>
                <a:gd name="T0" fmla="*/ 0 w 193"/>
                <a:gd name="T1" fmla="*/ 25 h 127"/>
                <a:gd name="T2" fmla="*/ 115 w 193"/>
                <a:gd name="T3" fmla="*/ 82 h 127"/>
                <a:gd name="T4" fmla="*/ 193 w 193"/>
                <a:gd name="T5" fmla="*/ 127 h 127"/>
                <a:gd name="T6" fmla="*/ 179 w 193"/>
                <a:gd name="T7" fmla="*/ 25 h 127"/>
                <a:gd name="T8" fmla="*/ 83 w 193"/>
                <a:gd name="T9" fmla="*/ 0 h 127"/>
                <a:gd name="T10" fmla="*/ 0 w 193"/>
                <a:gd name="T11" fmla="*/ 2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3" h="127">
                  <a:moveTo>
                    <a:pt x="0" y="25"/>
                  </a:moveTo>
                  <a:cubicBezTo>
                    <a:pt x="0" y="25"/>
                    <a:pt x="21" y="84"/>
                    <a:pt x="115" y="82"/>
                  </a:cubicBezTo>
                  <a:cubicBezTo>
                    <a:pt x="178" y="81"/>
                    <a:pt x="193" y="127"/>
                    <a:pt x="193" y="127"/>
                  </a:cubicBezTo>
                  <a:cubicBezTo>
                    <a:pt x="193" y="127"/>
                    <a:pt x="182" y="24"/>
                    <a:pt x="179" y="25"/>
                  </a:cubicBezTo>
                  <a:cubicBezTo>
                    <a:pt x="176" y="26"/>
                    <a:pt x="83" y="0"/>
                    <a:pt x="83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2" name="Title 1">
            <a:extLst>
              <a:ext uri="{FF2B5EF4-FFF2-40B4-BE49-F238E27FC236}">
                <a16:creationId xmlns:a16="http://schemas.microsoft.com/office/drawing/2014/main" id="{46697409-2397-4D88-82E6-F6EC862830C8}"/>
              </a:ext>
            </a:extLst>
          </p:cNvPr>
          <p:cNvSpPr txBox="1">
            <a:spLocks/>
          </p:cNvSpPr>
          <p:nvPr/>
        </p:nvSpPr>
        <p:spPr>
          <a:xfrm>
            <a:off x="724006" y="3187284"/>
            <a:ext cx="4373457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d-ID" dirty="0">
                <a:solidFill>
                  <a:srgbClr val="07038B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  <a:endParaRPr kumimoji="0" lang="en-ID" sz="4400" b="1" i="0" u="none" strike="noStrike" kern="1200" cap="none" spc="0" normalizeH="0" baseline="0" noProof="0" dirty="0">
              <a:ln>
                <a:noFill/>
              </a:ln>
              <a:solidFill>
                <a:srgbClr val="07038B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53" name="Freeform: Shape 152">
            <a:extLst>
              <a:ext uri="{FF2B5EF4-FFF2-40B4-BE49-F238E27FC236}">
                <a16:creationId xmlns:a16="http://schemas.microsoft.com/office/drawing/2014/main" id="{39D81E60-D327-4DDD-8D8B-D8F9AFFBDCC1}"/>
              </a:ext>
            </a:extLst>
          </p:cNvPr>
          <p:cNvSpPr/>
          <p:nvPr/>
        </p:nvSpPr>
        <p:spPr>
          <a:xfrm rot="10800000">
            <a:off x="4911725" y="1"/>
            <a:ext cx="7280275" cy="1238863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4" name="Freeform: Shape 153">
            <a:extLst>
              <a:ext uri="{FF2B5EF4-FFF2-40B4-BE49-F238E27FC236}">
                <a16:creationId xmlns:a16="http://schemas.microsoft.com/office/drawing/2014/main" id="{0A8E5FDB-E6F5-4EEA-9DAD-1370C45FD7CC}"/>
              </a:ext>
            </a:extLst>
          </p:cNvPr>
          <p:cNvSpPr/>
          <p:nvPr/>
        </p:nvSpPr>
        <p:spPr>
          <a:xfrm>
            <a:off x="-3175" y="5619137"/>
            <a:ext cx="7280275" cy="1238863"/>
          </a:xfrm>
          <a:custGeom>
            <a:avLst/>
            <a:gdLst>
              <a:gd name="connsiteX0" fmla="*/ 1310303 w 10988503"/>
              <a:gd name="connsiteY0" fmla="*/ 22 h 1869882"/>
              <a:gd name="connsiteX1" fmla="*/ 6483550 w 10988503"/>
              <a:gd name="connsiteY1" fmla="*/ 1580690 h 1869882"/>
              <a:gd name="connsiteX2" fmla="*/ 10974880 w 10988503"/>
              <a:gd name="connsiteY2" fmla="*/ 1866382 h 1869882"/>
              <a:gd name="connsiteX3" fmla="*/ 10988503 w 10988503"/>
              <a:gd name="connsiteY3" fmla="*/ 1869882 h 1869882"/>
              <a:gd name="connsiteX4" fmla="*/ 0 w 10988503"/>
              <a:gd name="connsiteY4" fmla="*/ 1869882 h 1869882"/>
              <a:gd name="connsiteX5" fmla="*/ 0 w 10988503"/>
              <a:gd name="connsiteY5" fmla="*/ 1794198 h 1869882"/>
              <a:gd name="connsiteX6" fmla="*/ 0 w 10988503"/>
              <a:gd name="connsiteY6" fmla="*/ 334669 h 1869882"/>
              <a:gd name="connsiteX7" fmla="*/ 1310303 w 10988503"/>
              <a:gd name="connsiteY7" fmla="*/ 22 h 186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88503" h="1869882">
                <a:moveTo>
                  <a:pt x="1310303" y="22"/>
                </a:moveTo>
                <a:cubicBezTo>
                  <a:pt x="3087798" y="-7336"/>
                  <a:pt x="4449871" y="1761474"/>
                  <a:pt x="6483550" y="1580690"/>
                </a:cubicBezTo>
                <a:cubicBezTo>
                  <a:pt x="8348226" y="1415442"/>
                  <a:pt x="9844847" y="1591559"/>
                  <a:pt x="10974880" y="1866382"/>
                </a:cubicBezTo>
                <a:lnTo>
                  <a:pt x="10988503" y="1869882"/>
                </a:lnTo>
                <a:lnTo>
                  <a:pt x="0" y="1869882"/>
                </a:lnTo>
                <a:lnTo>
                  <a:pt x="0" y="1794198"/>
                </a:lnTo>
                <a:cubicBezTo>
                  <a:pt x="0" y="1432462"/>
                  <a:pt x="0" y="957720"/>
                  <a:pt x="0" y="334669"/>
                </a:cubicBezTo>
                <a:cubicBezTo>
                  <a:pt x="467797" y="98006"/>
                  <a:pt x="900111" y="1719"/>
                  <a:pt x="1310303" y="22"/>
                </a:cubicBezTo>
                <a:close/>
              </a:path>
            </a:pathLst>
          </a:custGeom>
          <a:gradFill>
            <a:gsLst>
              <a:gs pos="0">
                <a:srgbClr val="393762"/>
              </a:gs>
              <a:gs pos="50000">
                <a:srgbClr val="C779D0"/>
              </a:gs>
              <a:gs pos="100000">
                <a:srgbClr val="E4859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99330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.ugfhll.RmHJYdEhK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Century Gothic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Infographic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C03BF"/>
      </a:accent1>
      <a:accent2>
        <a:srgbClr val="0D04F2"/>
      </a:accent2>
      <a:accent3>
        <a:srgbClr val="07038B"/>
      </a:accent3>
      <a:accent4>
        <a:srgbClr val="858BF1"/>
      </a:accent4>
      <a:accent5>
        <a:srgbClr val="F1D64A"/>
      </a:accent5>
      <a:accent6>
        <a:srgbClr val="F4FFFF"/>
      </a:accent6>
      <a:hlink>
        <a:srgbClr val="2F5CD6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2</TotalTime>
  <Words>423</Words>
  <Application>Microsoft Office PowerPoint</Application>
  <PresentationFormat>Widescreen</PresentationFormat>
  <Paragraphs>113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Arial</vt:lpstr>
      <vt:lpstr>Bahnschrift</vt:lpstr>
      <vt:lpstr>Calibri</vt:lpstr>
      <vt:lpstr>Calibri Light</vt:lpstr>
      <vt:lpstr>Century Gothic</vt:lpstr>
      <vt:lpstr>Georgia</vt:lpstr>
      <vt:lpstr>Segoe UI</vt:lpstr>
      <vt:lpstr>Segoe UI Semibold</vt:lpstr>
      <vt:lpstr>Verdana</vt:lpstr>
      <vt:lpstr>Office Theme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gshuman Banerjee (BDA 19-21)</dc:creator>
  <cp:lastModifiedBy>shiva behal</cp:lastModifiedBy>
  <cp:revision>56</cp:revision>
  <dcterms:created xsi:type="dcterms:W3CDTF">2021-02-25T06:55:31Z</dcterms:created>
  <dcterms:modified xsi:type="dcterms:W3CDTF">2021-03-01T13:32:11Z</dcterms:modified>
</cp:coreProperties>
</file>